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6" r:id="rId4"/>
  </p:sldMasterIdLst>
  <p:notesMasterIdLst>
    <p:notesMasterId r:id="rId39"/>
  </p:notesMasterIdLst>
  <p:sldIdLst>
    <p:sldId id="1633" r:id="rId5"/>
    <p:sldId id="440" r:id="rId6"/>
    <p:sldId id="375" r:id="rId7"/>
    <p:sldId id="334" r:id="rId8"/>
    <p:sldId id="2147483544" r:id="rId9"/>
    <p:sldId id="347" r:id="rId10"/>
    <p:sldId id="594" r:id="rId11"/>
    <p:sldId id="277" r:id="rId12"/>
    <p:sldId id="595" r:id="rId13"/>
    <p:sldId id="275" r:id="rId14"/>
    <p:sldId id="409" r:id="rId15"/>
    <p:sldId id="457" r:id="rId16"/>
    <p:sldId id="412" r:id="rId17"/>
    <p:sldId id="462" r:id="rId18"/>
    <p:sldId id="438" r:id="rId19"/>
    <p:sldId id="456" r:id="rId20"/>
    <p:sldId id="386" r:id="rId21"/>
    <p:sldId id="387" r:id="rId22"/>
    <p:sldId id="315" r:id="rId23"/>
    <p:sldId id="297" r:id="rId24"/>
    <p:sldId id="2147483611" r:id="rId25"/>
    <p:sldId id="381" r:id="rId26"/>
    <p:sldId id="511" r:id="rId27"/>
    <p:sldId id="298" r:id="rId28"/>
    <p:sldId id="310" r:id="rId29"/>
    <p:sldId id="301" r:id="rId30"/>
    <p:sldId id="513" r:id="rId31"/>
    <p:sldId id="512" r:id="rId32"/>
    <p:sldId id="487" r:id="rId33"/>
    <p:sldId id="510" r:id="rId34"/>
    <p:sldId id="589" r:id="rId35"/>
    <p:sldId id="269" r:id="rId36"/>
    <p:sldId id="330" r:id="rId37"/>
    <p:sldId id="591"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160">
          <p15:clr>
            <a:srgbClr val="A4A3A4"/>
          </p15:clr>
        </p15:guide>
        <p15:guide id="3"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2E5CA431-AFCB-AD7E-C79E-26B59B00EA37}" name="Kalisa Jenne-Fraser (SYNAXIS CORPORATION)" initials="KJ" userId="S::v-kalisajen@microsoft.com::de9ee15a-c645-43f2-a73b-6d05f9e668b3" providerId="AD"/>
  <p188:author id="{42827239-A550-492D-1576-CE1DCACE4914}" name="Daryl Schaal (SYNAXIS CORPORATION)" initials="DS" userId="S::v-darsch@microsoft.com::a951ecaa-969a-4477-a8c9-df0dfa026182" providerId="AD"/>
  <p188:author id="{1CC9BD66-4965-66EC-D43C-4175EDB96078}" name="Erin McHugh Saif" initials="" userId="S::ermchugh@microsoft.com::9f93b4d3-52d4-4220-a190-55567abe2076" providerId="AD"/>
  <p188:author id="{0AF83D72-BA31-CE2B-D76F-59446C5DD042}" name="Aysha Kaushik" initials="AK" userId="S::aypathak@microsoft.com::549cd2d3-dab8-4c0c-ac06-1c38fc8f43a9" providerId="AD"/>
  <p188:author id="{AD354776-933C-5BDF-6C9E-2409DB95755A}" name="Lisa Fernow (ANDERSEN CONSULTANTS LLC)" initials="LL" userId="S::v-fernowlisa@microsoft.com::da10156c-1dd1-44f6-80d8-a41de904022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DDEEF8"/>
    <a:srgbClr val="FFFFFF"/>
    <a:srgbClr val="B63EC5"/>
    <a:srgbClr val="0078D4"/>
    <a:srgbClr val="B1B3B3"/>
    <a:srgbClr val="49C5B1"/>
    <a:srgbClr val="F5EBE9"/>
    <a:srgbClr val="593794"/>
    <a:srgbClr val="E4DFDC"/>
    <a:srgbClr val="E7E3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6242" autoAdjust="0"/>
  </p:normalViewPr>
  <p:slideViewPr>
    <p:cSldViewPr snapToGrid="0">
      <p:cViewPr varScale="1">
        <p:scale>
          <a:sx n="99" d="100"/>
          <a:sy n="99" d="100"/>
        </p:scale>
        <p:origin x="858" y="30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7ABE1F-CA5A-2B44-8AB1-8023C3D7A890}" type="datetimeFigureOut">
              <a:rPr lang="en-US" smtClean="0"/>
              <a:t>4/1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57A88C-D68B-7E43-B6BD-8EAA3060908E}" type="slidenum">
              <a:rPr lang="en-US" smtClean="0"/>
              <a:t>‹#›</a:t>
            </a:fld>
            <a:endParaRPr lang="en-US"/>
          </a:p>
        </p:txBody>
      </p:sp>
    </p:spTree>
    <p:extLst>
      <p:ext uri="{BB962C8B-B14F-4D97-AF65-F5344CB8AC3E}">
        <p14:creationId xmlns:p14="http://schemas.microsoft.com/office/powerpoint/2010/main" val="41548041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708389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235658-C438-6BA0-0959-4C2C5A06DE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744F61-9F5B-7CC6-FD39-29CA413BD0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B1D40C-A01D-B838-8740-C6ECDFE31B0E}"/>
              </a:ext>
            </a:extLst>
          </p:cNvPr>
          <p:cNvSpPr>
            <a:spLocks noGrp="1"/>
          </p:cNvSpPr>
          <p:nvPr>
            <p:ph type="body" idx="1"/>
          </p:nvPr>
        </p:nvSpPr>
        <p:spPr/>
        <p:txBody>
          <a:bodyPr/>
          <a:lstStyle/>
          <a:p>
            <a:pPr algn="l">
              <a:buFont typeface="+mj-lt"/>
              <a:buNone/>
            </a:pPr>
            <a:endParaRPr lang="en-US" b="0" i="0">
              <a:solidFill>
                <a:srgbClr val="242424"/>
              </a:solidFill>
              <a:effectLst/>
              <a:highlight>
                <a:srgbClr val="FFFFFF"/>
              </a:highlight>
              <a:latin typeface="Segoe UI" panose="020B0502040204020203" pitchFamily="34" charset="0"/>
            </a:endParaRPr>
          </a:p>
        </p:txBody>
      </p:sp>
      <p:sp>
        <p:nvSpPr>
          <p:cNvPr id="4" name="Slide Number Placeholder 3">
            <a:extLst>
              <a:ext uri="{FF2B5EF4-FFF2-40B4-BE49-F238E27FC236}">
                <a16:creationId xmlns:a16="http://schemas.microsoft.com/office/drawing/2014/main" id="{F799FB97-DB03-0B6E-C3E2-1B3F38919A7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D4E199-DD77-489E-950B-7193487A64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619608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FB4303-303D-9C38-01DD-FE85DF5D81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0770A2-3253-6083-7E4A-C00A93EDF5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6F3C2F-E6EB-75D2-D535-EFBEAD365E48}"/>
              </a:ext>
            </a:extLst>
          </p:cNvPr>
          <p:cNvSpPr>
            <a:spLocks noGrp="1"/>
          </p:cNvSpPr>
          <p:nvPr>
            <p:ph type="body" idx="1"/>
          </p:nvPr>
        </p:nvSpPr>
        <p:spPr/>
        <p:txBody>
          <a:bodyPr/>
          <a:lstStyle/>
          <a:p>
            <a:pPr algn="l">
              <a:buFont typeface="+mj-lt"/>
              <a:buNone/>
            </a:pPr>
            <a:endParaRPr lang="en-US" b="0" i="0">
              <a:solidFill>
                <a:srgbClr val="242424"/>
              </a:solidFill>
              <a:effectLst/>
              <a:highlight>
                <a:srgbClr val="FFFFFF"/>
              </a:highlight>
              <a:latin typeface="Segoe UI" panose="020B0502040204020203" pitchFamily="34" charset="0"/>
            </a:endParaRPr>
          </a:p>
        </p:txBody>
      </p:sp>
      <p:sp>
        <p:nvSpPr>
          <p:cNvPr id="4" name="Slide Number Placeholder 3">
            <a:extLst>
              <a:ext uri="{FF2B5EF4-FFF2-40B4-BE49-F238E27FC236}">
                <a16:creationId xmlns:a16="http://schemas.microsoft.com/office/drawing/2014/main" id="{5128DE6F-B4CF-9942-C407-9CABA7D8388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D4E199-DD77-489E-950B-7193487A64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039217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None/>
            </a:pPr>
            <a:endParaRPr lang="en-US" b="0" i="0">
              <a:solidFill>
                <a:srgbClr val="242424"/>
              </a:solidFill>
              <a:effectLst/>
              <a:highlight>
                <a:srgbClr val="FFFFFF"/>
              </a:highlight>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D4E199-DD77-489E-950B-7193487A64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216766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None/>
            </a:pPr>
            <a:endParaRPr lang="en-US" b="0" i="0">
              <a:solidFill>
                <a:srgbClr val="242424"/>
              </a:solidFill>
              <a:effectLst/>
              <a:highlight>
                <a:srgbClr val="FFFFFF"/>
              </a:highlight>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D4E199-DD77-489E-950B-7193487A64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292938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0950C8-AB20-A750-9755-A785926604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83F9FF-0510-5DFE-1CD9-79B01AB5FB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FB85ED-F2FE-44C8-117B-7C62D326BE8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0B8D934-D869-BE0A-D9C1-E1AE4672C40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693309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248D70-1614-483A-8C8C-25212EAD552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875781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5000"/>
              </a:lnSpc>
              <a:spcBef>
                <a:spcPts val="0"/>
              </a:spcBef>
              <a:spcAft>
                <a:spcPts val="0"/>
              </a:spcAft>
              <a:buFont typeface="+mj-lt"/>
              <a:buNone/>
              <a:tabLst>
                <a:tab pos="3776345" algn="l"/>
              </a:tabLst>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C496AA-4723-472D-97C9-EE47AB39C7F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1755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23EAC8-0103-766F-56F3-B734710F25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1026D9-DB97-9425-6D74-B9CF79BFFC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62FFFA-FB5F-B832-3379-608FBB2CB65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DDB59D3-DCD8-83C9-721F-6FCB6624C70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10347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49B84A-C316-BF1E-C63B-7A9A883687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18B4DA-384B-1F4B-D11B-817A7958FF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CCA350-19CB-DE6F-F03A-7AF3B5510010}"/>
              </a:ext>
            </a:extLst>
          </p:cNvPr>
          <p:cNvSpPr>
            <a:spLocks noGrp="1"/>
          </p:cNvSpPr>
          <p:nvPr>
            <p:ph type="body" idx="1"/>
          </p:nvPr>
        </p:nvSpPr>
        <p:spPr/>
        <p:txBody>
          <a:bodyPr/>
          <a:lstStyle/>
          <a:p>
            <a:pPr algn="l">
              <a:buFont typeface="+mj-lt"/>
              <a:buNone/>
            </a:pPr>
            <a:endParaRPr lang="en-US" b="0" i="0">
              <a:solidFill>
                <a:srgbClr val="242424"/>
              </a:solidFill>
              <a:effectLst/>
              <a:highlight>
                <a:srgbClr val="FFFFFF"/>
              </a:highlight>
              <a:latin typeface="Segoe UI" panose="020B0502040204020203" pitchFamily="34" charset="0"/>
            </a:endParaRPr>
          </a:p>
        </p:txBody>
      </p:sp>
      <p:sp>
        <p:nvSpPr>
          <p:cNvPr id="4" name="Slide Number Placeholder 3">
            <a:extLst>
              <a:ext uri="{FF2B5EF4-FFF2-40B4-BE49-F238E27FC236}">
                <a16:creationId xmlns:a16="http://schemas.microsoft.com/office/drawing/2014/main" id="{315686F0-AAD6-018F-2EA6-ACF6BE4E2E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D4E199-DD77-489E-950B-7193487A64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298290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None/>
            </a:pPr>
            <a:endParaRPr lang="en-US" b="0" i="0">
              <a:solidFill>
                <a:srgbClr val="242424"/>
              </a:solidFill>
              <a:effectLst/>
              <a:highlight>
                <a:srgbClr val="FFFFFF"/>
              </a:highlight>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D4E199-DD77-489E-950B-7193487A64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216766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908632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814741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4E76D9-A702-B93C-BAAC-ACAA6E2CDB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134B65-857B-695A-4306-D817EDAF2A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51323D-0DE0-B8D3-4688-2D530DE69508}"/>
              </a:ext>
            </a:extLst>
          </p:cNvPr>
          <p:cNvSpPr>
            <a:spLocks noGrp="1"/>
          </p:cNvSpPr>
          <p:nvPr>
            <p:ph type="body" idx="1"/>
          </p:nvPr>
        </p:nvSpPr>
        <p:spPr/>
        <p:txBody>
          <a:bodyPr/>
          <a:lstStyle/>
          <a:p>
            <a:pPr algn="l">
              <a:buFont typeface="+mj-lt"/>
              <a:buNone/>
            </a:pPr>
            <a:endParaRPr lang="en-US" b="0" i="0">
              <a:solidFill>
                <a:srgbClr val="242424"/>
              </a:solidFill>
              <a:effectLst/>
              <a:highlight>
                <a:srgbClr val="FFFFFF"/>
              </a:highlight>
              <a:latin typeface="Segoe UI" panose="020B0502040204020203" pitchFamily="34" charset="0"/>
            </a:endParaRPr>
          </a:p>
        </p:txBody>
      </p:sp>
      <p:sp>
        <p:nvSpPr>
          <p:cNvPr id="4" name="Slide Number Placeholder 3">
            <a:extLst>
              <a:ext uri="{FF2B5EF4-FFF2-40B4-BE49-F238E27FC236}">
                <a16:creationId xmlns:a16="http://schemas.microsoft.com/office/drawing/2014/main" id="{DAFE6F33-79C4-EF00-6A8F-F9496E509AA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D4E199-DD77-489E-950B-7193487A64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977081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s://m365copilot.com/" TargetMode="Externa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m365copilot.com/"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m365copilot.com/"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quare photo 2">
    <p:bg>
      <p:bgPr>
        <a:solidFill>
          <a:srgbClr val="FFF8F3"/>
        </a:solidFill>
        <a:effectLst/>
      </p:bgPr>
    </p:bg>
    <p:spTree>
      <p:nvGrpSpPr>
        <p:cNvPr id="1" name=""/>
        <p:cNvGrpSpPr/>
        <p:nvPr/>
      </p:nvGrpSpPr>
      <p:grpSpPr>
        <a:xfrm>
          <a:off x="0" y="0"/>
          <a:ext cx="0" cy="0"/>
          <a:chOff x="0" y="0"/>
          <a:chExt cx="0" cy="0"/>
        </a:xfrm>
      </p:grpSpPr>
      <p:pic>
        <p:nvPicPr>
          <p:cNvPr id="4" name="Picture 3" descr="A close-up of a spiral&#10;&#10;Description automatically generated">
            <a:extLst>
              <a:ext uri="{FF2B5EF4-FFF2-40B4-BE49-F238E27FC236}">
                <a16:creationId xmlns:a16="http://schemas.microsoft.com/office/drawing/2014/main" id="{361D5F98-BDD8-425B-488B-22D9DCB8038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418D8C93-A68F-427F-AC31-AE3104AD1194}"/>
              </a:ext>
            </a:extLst>
          </p:cNvPr>
          <p:cNvSpPr/>
          <p:nvPr userDrawn="1"/>
        </p:nvSpPr>
        <p:spPr bwMode="auto">
          <a:xfrm>
            <a:off x="0" y="0"/>
            <a:ext cx="12192000" cy="6858000"/>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17984"/>
            <a:ext cx="7758903" cy="615553"/>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7752752"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4D1E6E7-6980-34C8-5B50-9BC3D2B8E20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547835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5" name="Picture 4" descr="A blue sky with white clouds&#10;&#10;AI-generated content may be incorrect.">
            <a:extLst>
              <a:ext uri="{FF2B5EF4-FFF2-40B4-BE49-F238E27FC236}">
                <a16:creationId xmlns:a16="http://schemas.microsoft.com/office/drawing/2014/main" id="{D06997A8-9B2A-B93C-F597-79B38162AF6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77848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58B1CC-7E89-FC8B-DE61-81B2927808E2}"/>
              </a:ext>
              <a:ext uri="{C183D7F6-B498-43B3-948B-1728B52AA6E4}">
                <adec:decorative xmlns:adec="http://schemas.microsoft.com/office/drawing/2017/decorative" val="1"/>
              </a:ext>
            </a:extLst>
          </p:cNvPr>
          <p:cNvPicPr>
            <a:picLocks noChangeAspect="1"/>
          </p:cNvPicPr>
          <p:nvPr userDrawn="1"/>
        </p:nvPicPr>
        <p:blipFill rotWithShape="1">
          <a:blip r:embed="rId2">
            <a:duotone>
              <a:prstClr val="black"/>
              <a:srgbClr val="FFF8F3">
                <a:tint val="45000"/>
                <a:satMod val="400000"/>
              </a:srgbClr>
            </a:duotone>
          </a:blip>
          <a:srcRect t="7440" b="52893"/>
          <a:stretch/>
        </p:blipFill>
        <p:spPr>
          <a:xfrm>
            <a:off x="0" y="0"/>
            <a:ext cx="12191999" cy="6857999"/>
          </a:xfrm>
          <a:prstGeom prst="round2SameRect">
            <a:avLst>
              <a:gd name="adj1" fmla="val 0"/>
              <a:gd name="adj2" fmla="val 0"/>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6177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65274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pic>
        <p:nvPicPr>
          <p:cNvPr id="3" name="Picture 2" descr="A close-up of a curved object">
            <a:extLst>
              <a:ext uri="{FF2B5EF4-FFF2-40B4-BE49-F238E27FC236}">
                <a16:creationId xmlns:a16="http://schemas.microsoft.com/office/drawing/2014/main" id="{65978E02-7B42-4283-0732-A5ECD04C20F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FD9B2C81-3582-FD54-9197-2A2E6EA52FF9}"/>
              </a:ext>
            </a:extLst>
          </p:cNvPr>
          <p:cNvSpPr/>
          <p:nvPr userDrawn="1"/>
        </p:nvSpPr>
        <p:spPr bwMode="auto">
          <a:xfrm>
            <a:off x="0" y="0"/>
            <a:ext cx="8586216"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3263650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07777"/>
          </a:xfrm>
        </p:spPr>
        <p:txBody>
          <a:bodyPr tIns="0"/>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752226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Scenario five steps">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FC6C3234-D3F7-EB91-19FC-3FF3921A6EF7}"/>
              </a:ext>
            </a:extLst>
          </p:cNvPr>
          <p:cNvSpPr>
            <a:spLocks/>
          </p:cNvSpPr>
          <p:nvPr userDrawn="1"/>
        </p:nvSpPr>
        <p:spPr bwMode="auto">
          <a:xfrm>
            <a:off x="2179638" y="304726"/>
            <a:ext cx="4582191" cy="526298"/>
          </a:xfrm>
          <a:prstGeom prst="roundRect">
            <a:avLst/>
          </a:prstGeom>
          <a:solidFill>
            <a:srgbClr val="DDEEF8"/>
          </a:solidFill>
          <a:ln>
            <a:solidFill>
              <a:schemeClr val="bg1"/>
            </a:solidFill>
            <a:headEnd type="none" w="med" len="med"/>
            <a:tailEnd type="none" w="med" len="med"/>
          </a:ln>
          <a:effectLst>
            <a:outerShdw blurRad="254000" algn="ctr" rotWithShape="0">
              <a:schemeClr val="bg1">
                <a:lumMod val="75000"/>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1148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1200"/>
              </a:spcBef>
              <a:spcAft>
                <a:spcPts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9" name="TextBox 8">
            <a:extLst>
              <a:ext uri="{FF2B5EF4-FFF2-40B4-BE49-F238E27FC236}">
                <a16:creationId xmlns:a16="http://schemas.microsoft.com/office/drawing/2014/main" id="{DE489450-2B99-F45D-B0AD-1BD8CA42038B}"/>
              </a:ext>
            </a:extLst>
          </p:cNvPr>
          <p:cNvSpPr txBox="1">
            <a:spLocks/>
          </p:cNvSpPr>
          <p:nvPr userDrawn="1"/>
        </p:nvSpPr>
        <p:spPr>
          <a:xfrm>
            <a:off x="0" y="304726"/>
            <a:ext cx="2431247" cy="526298"/>
          </a:xfrm>
          <a:custGeom>
            <a:avLst/>
            <a:gdLst>
              <a:gd name="connsiteX0" fmla="*/ 1993 w 2431247"/>
              <a:gd name="connsiteY0" fmla="*/ 0 h 526298"/>
              <a:gd name="connsiteX1" fmla="*/ 2338766 w 2431247"/>
              <a:gd name="connsiteY1" fmla="*/ 0 h 526298"/>
              <a:gd name="connsiteX2" fmla="*/ 2431247 w 2431247"/>
              <a:gd name="connsiteY2" fmla="*/ 92481 h 526298"/>
              <a:gd name="connsiteX3" fmla="*/ 2431247 w 2431247"/>
              <a:gd name="connsiteY3" fmla="*/ 433817 h 526298"/>
              <a:gd name="connsiteX4" fmla="*/ 2338766 w 2431247"/>
              <a:gd name="connsiteY4" fmla="*/ 526298 h 526298"/>
              <a:gd name="connsiteX5" fmla="*/ 1993 w 2431247"/>
              <a:gd name="connsiteY5" fmla="*/ 526298 h 526298"/>
              <a:gd name="connsiteX6" fmla="*/ 0 w 2431247"/>
              <a:gd name="connsiteY6" fmla="*/ 525896 h 526298"/>
              <a:gd name="connsiteX7" fmla="*/ 0 w 2431247"/>
              <a:gd name="connsiteY7" fmla="*/ 402 h 526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1247" h="526298">
                <a:moveTo>
                  <a:pt x="1993" y="0"/>
                </a:moveTo>
                <a:lnTo>
                  <a:pt x="2338766" y="0"/>
                </a:lnTo>
                <a:cubicBezTo>
                  <a:pt x="2389842" y="0"/>
                  <a:pt x="2431247" y="41405"/>
                  <a:pt x="2431247" y="92481"/>
                </a:cubicBezTo>
                <a:lnTo>
                  <a:pt x="2431247" y="433817"/>
                </a:lnTo>
                <a:cubicBezTo>
                  <a:pt x="2431247" y="484893"/>
                  <a:pt x="2389842" y="526298"/>
                  <a:pt x="2338766" y="526298"/>
                </a:cubicBezTo>
                <a:lnTo>
                  <a:pt x="1993" y="526298"/>
                </a:lnTo>
                <a:lnTo>
                  <a:pt x="0" y="525896"/>
                </a:lnTo>
                <a:lnTo>
                  <a:pt x="0" y="402"/>
                </a:lnTo>
                <a:close/>
              </a:path>
            </a:pathLst>
          </a:custGeom>
          <a:gradFill flip="none" rotWithShape="1">
            <a:gsLst>
              <a:gs pos="35000">
                <a:srgbClr val="0078D4"/>
              </a:gs>
              <a:gs pos="0">
                <a:srgbClr val="C03BC4"/>
              </a:gs>
            </a:gsLst>
            <a:path path="circle">
              <a:fillToRect l="100000" t="100000"/>
            </a:path>
            <a:tileRect r="-100000" b="-100000"/>
          </a:gradFill>
          <a:effectLst/>
        </p:spPr>
        <p:txBody>
          <a:bodyPr vert="horz" wrap="square" lIns="310896" tIns="0" rIns="0" bIns="0" rtlCol="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1" i="0" kern="1200" spc="0" baseline="0">
                <a:solidFill>
                  <a:srgbClr val="FFFFFF"/>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71" name="Scenario Level">
            <a:extLst>
              <a:ext uri="{FF2B5EF4-FFF2-40B4-BE49-F238E27FC236}">
                <a16:creationId xmlns:a16="http://schemas.microsoft.com/office/drawing/2014/main" id="{5C914349-B5B3-D703-EE31-78482DD3DAA9}"/>
              </a:ext>
            </a:extLst>
          </p:cNvPr>
          <p:cNvSpPr txBox="1"/>
          <p:nvPr userDrawn="1"/>
        </p:nvSpPr>
        <p:spPr>
          <a:xfrm>
            <a:off x="10895070"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Scenario level:</a:t>
            </a:r>
          </a:p>
        </p:txBody>
      </p:sp>
      <p:sp>
        <p:nvSpPr>
          <p:cNvPr id="73" name="Available with">
            <a:extLst>
              <a:ext uri="{FF2B5EF4-FFF2-40B4-BE49-F238E27FC236}">
                <a16:creationId xmlns:a16="http://schemas.microsoft.com/office/drawing/2014/main" id="{1E59605F-F04E-58C0-102B-28C6AFF01B7D}"/>
              </a:ext>
            </a:extLst>
          </p:cNvPr>
          <p:cNvSpPr txBox="1"/>
          <p:nvPr userDrawn="1"/>
        </p:nvSpPr>
        <p:spPr>
          <a:xfrm>
            <a:off x="9126798"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Available with:</a:t>
            </a:r>
          </a:p>
        </p:txBody>
      </p:sp>
      <p:cxnSp>
        <p:nvCxnSpPr>
          <p:cNvPr id="76" name="Straight Connector 75">
            <a:extLst>
              <a:ext uri="{FF2B5EF4-FFF2-40B4-BE49-F238E27FC236}">
                <a16:creationId xmlns:a16="http://schemas.microsoft.com/office/drawing/2014/main" id="{384F79FD-8FB8-5727-A3FB-9193B8AF441D}"/>
              </a:ext>
            </a:extLst>
          </p:cNvPr>
          <p:cNvCxnSpPr/>
          <p:nvPr userDrawn="1"/>
        </p:nvCxnSpPr>
        <p:spPr>
          <a:xfrm>
            <a:off x="10357789"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 name="Rectangle: Top Corners Rounded 73">
            <a:extLst>
              <a:ext uri="{FF2B5EF4-FFF2-40B4-BE49-F238E27FC236}">
                <a16:creationId xmlns:a16="http://schemas.microsoft.com/office/drawing/2014/main" id="{6FDEA399-18DB-E6DC-793E-5041B1E784CA}"/>
              </a:ext>
            </a:extLst>
          </p:cNvPr>
          <p:cNvSpPr>
            <a:spLocks/>
          </p:cNvSpPr>
          <p:nvPr userDrawn="1"/>
        </p:nvSpPr>
        <p:spPr bwMode="auto">
          <a:xfrm rot="16200000" flipV="1">
            <a:off x="6107793" y="-1681313"/>
            <a:ext cx="2612241" cy="8679949"/>
          </a:xfrm>
          <a:custGeom>
            <a:avLst/>
            <a:gdLst>
              <a:gd name="connsiteX0" fmla="*/ 163683 w 2612241"/>
              <a:gd name="connsiteY0" fmla="*/ 0 h 8666696"/>
              <a:gd name="connsiteX1" fmla="*/ 2448558 w 2612241"/>
              <a:gd name="connsiteY1" fmla="*/ 0 h 8666696"/>
              <a:gd name="connsiteX2" fmla="*/ 2612241 w 2612241"/>
              <a:gd name="connsiteY2" fmla="*/ 163683 h 8666696"/>
              <a:gd name="connsiteX3" fmla="*/ 2612241 w 2612241"/>
              <a:gd name="connsiteY3" fmla="*/ 8666696 h 8666696"/>
              <a:gd name="connsiteX4" fmla="*/ 2612241 w 2612241"/>
              <a:gd name="connsiteY4" fmla="*/ 8666696 h 8666696"/>
              <a:gd name="connsiteX5" fmla="*/ 0 w 2612241"/>
              <a:gd name="connsiteY5" fmla="*/ 8666696 h 8666696"/>
              <a:gd name="connsiteX6" fmla="*/ 0 w 2612241"/>
              <a:gd name="connsiteY6" fmla="*/ 8666696 h 8666696"/>
              <a:gd name="connsiteX7" fmla="*/ 0 w 2612241"/>
              <a:gd name="connsiteY7" fmla="*/ 163683 h 8666696"/>
              <a:gd name="connsiteX8" fmla="*/ 163683 w 2612241"/>
              <a:gd name="connsiteY8" fmla="*/ 0 h 8666696"/>
              <a:gd name="connsiteX0" fmla="*/ 0 w 2612241"/>
              <a:gd name="connsiteY0" fmla="*/ 8666696 h 8758136"/>
              <a:gd name="connsiteX1" fmla="*/ 0 w 2612241"/>
              <a:gd name="connsiteY1" fmla="*/ 163683 h 8758136"/>
              <a:gd name="connsiteX2" fmla="*/ 163683 w 2612241"/>
              <a:gd name="connsiteY2" fmla="*/ 0 h 8758136"/>
              <a:gd name="connsiteX3" fmla="*/ 2448558 w 2612241"/>
              <a:gd name="connsiteY3" fmla="*/ 0 h 8758136"/>
              <a:gd name="connsiteX4" fmla="*/ 2612241 w 2612241"/>
              <a:gd name="connsiteY4" fmla="*/ 163683 h 8758136"/>
              <a:gd name="connsiteX5" fmla="*/ 2612241 w 2612241"/>
              <a:gd name="connsiteY5" fmla="*/ 8666696 h 8758136"/>
              <a:gd name="connsiteX6" fmla="*/ 2612241 w 2612241"/>
              <a:gd name="connsiteY6" fmla="*/ 8666696 h 8758136"/>
              <a:gd name="connsiteX7" fmla="*/ 0 w 2612241"/>
              <a:gd name="connsiteY7" fmla="*/ 8666696 h 8758136"/>
              <a:gd name="connsiteX8" fmla="*/ 91440 w 2612241"/>
              <a:gd name="connsiteY8" fmla="*/ 8758136 h 8758136"/>
              <a:gd name="connsiteX0" fmla="*/ 0 w 2612241"/>
              <a:gd name="connsiteY0" fmla="*/ 8666696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 name="connsiteX7" fmla="*/ 0 w 2612241"/>
              <a:gd name="connsiteY7" fmla="*/ 8666696 h 8666696"/>
              <a:gd name="connsiteX0" fmla="*/ 0 w 2612241"/>
              <a:gd name="connsiteY0" fmla="*/ 8666696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 name="connsiteX0" fmla="*/ 0 w 2612241"/>
              <a:gd name="connsiteY0" fmla="*/ 8666696 h 8666696"/>
              <a:gd name="connsiteX1" fmla="*/ 2382 w 2612241"/>
              <a:gd name="connsiteY1" fmla="*/ 7817633 h 8666696"/>
              <a:gd name="connsiteX2" fmla="*/ 0 w 2612241"/>
              <a:gd name="connsiteY2" fmla="*/ 163683 h 8666696"/>
              <a:gd name="connsiteX3" fmla="*/ 163683 w 2612241"/>
              <a:gd name="connsiteY3" fmla="*/ 0 h 8666696"/>
              <a:gd name="connsiteX4" fmla="*/ 2448558 w 2612241"/>
              <a:gd name="connsiteY4" fmla="*/ 0 h 8666696"/>
              <a:gd name="connsiteX5" fmla="*/ 2612241 w 2612241"/>
              <a:gd name="connsiteY5" fmla="*/ 163683 h 8666696"/>
              <a:gd name="connsiteX6" fmla="*/ 2612241 w 2612241"/>
              <a:gd name="connsiteY6" fmla="*/ 8666696 h 8666696"/>
              <a:gd name="connsiteX7" fmla="*/ 2612241 w 2612241"/>
              <a:gd name="connsiteY7" fmla="*/ 8666696 h 8666696"/>
              <a:gd name="connsiteX0" fmla="*/ 2382 w 2612241"/>
              <a:gd name="connsiteY0" fmla="*/ 7817633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2241" h="8666696">
                <a:moveTo>
                  <a:pt x="2382" y="7817633"/>
                </a:moveTo>
                <a:lnTo>
                  <a:pt x="0" y="163683"/>
                </a:lnTo>
                <a:cubicBezTo>
                  <a:pt x="0" y="73283"/>
                  <a:pt x="73283" y="0"/>
                  <a:pt x="163683" y="0"/>
                </a:cubicBezTo>
                <a:lnTo>
                  <a:pt x="2448558" y="0"/>
                </a:lnTo>
                <a:cubicBezTo>
                  <a:pt x="2538958" y="0"/>
                  <a:pt x="2612241" y="73283"/>
                  <a:pt x="2612241" y="163683"/>
                </a:cubicBezTo>
                <a:lnTo>
                  <a:pt x="2612241" y="8666696"/>
                </a:lnTo>
                <a:lnTo>
                  <a:pt x="2612241" y="8666696"/>
                </a:lnTo>
              </a:path>
            </a:pathLst>
          </a:custGeom>
          <a:ln w="15875" cap="flat">
            <a:gradFill flip="none" rotWithShape="1">
              <a:gsLst>
                <a:gs pos="0">
                  <a:srgbClr val="0078D4"/>
                </a:gs>
                <a:gs pos="100000">
                  <a:schemeClr val="accent3"/>
                </a:gs>
              </a:gsLst>
              <a:lin ang="1620000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79" name="Group 78">
            <a:extLst>
              <a:ext uri="{FF2B5EF4-FFF2-40B4-BE49-F238E27FC236}">
                <a16:creationId xmlns:a16="http://schemas.microsoft.com/office/drawing/2014/main" id="{ECD8F809-3EF5-43AD-9927-8D87766BB31B}"/>
              </a:ext>
              <a:ext uri="{C183D7F6-B498-43B3-948B-1728B52AA6E4}">
                <adec:decorative xmlns:adec="http://schemas.microsoft.com/office/drawing/2017/decorative" val="1"/>
              </a:ext>
            </a:extLst>
          </p:cNvPr>
          <p:cNvGrpSpPr/>
          <p:nvPr userDrawn="1"/>
        </p:nvGrpSpPr>
        <p:grpSpPr>
          <a:xfrm>
            <a:off x="5805591" y="1247214"/>
            <a:ext cx="210652" cy="210652"/>
            <a:chOff x="5214995" y="-1168400"/>
            <a:chExt cx="431800" cy="431800"/>
          </a:xfrm>
        </p:grpSpPr>
        <p:sp>
          <p:nvSpPr>
            <p:cNvPr id="80" name="Oval 79">
              <a:extLst>
                <a:ext uri="{FF2B5EF4-FFF2-40B4-BE49-F238E27FC236}">
                  <a16:creationId xmlns:a16="http://schemas.microsoft.com/office/drawing/2014/main" id="{BD95EE76-3BB3-5D96-1162-650D8265E79B}"/>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81" name="Rectangle 89">
              <a:extLst>
                <a:ext uri="{FF2B5EF4-FFF2-40B4-BE49-F238E27FC236}">
                  <a16:creationId xmlns:a16="http://schemas.microsoft.com/office/drawing/2014/main" id="{C479534D-98FF-6F65-ECCB-79C6294552EA}"/>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82" name="Group 81">
            <a:extLst>
              <a:ext uri="{FF2B5EF4-FFF2-40B4-BE49-F238E27FC236}">
                <a16:creationId xmlns:a16="http://schemas.microsoft.com/office/drawing/2014/main" id="{4684A0D0-9EC4-FC0C-B023-76950C80DF9A}"/>
              </a:ext>
              <a:ext uri="{C183D7F6-B498-43B3-948B-1728B52AA6E4}">
                <adec:decorative xmlns:adec="http://schemas.microsoft.com/office/drawing/2017/decorative" val="1"/>
              </a:ext>
            </a:extLst>
          </p:cNvPr>
          <p:cNvGrpSpPr/>
          <p:nvPr userDrawn="1"/>
        </p:nvGrpSpPr>
        <p:grpSpPr>
          <a:xfrm>
            <a:off x="8689384" y="1247214"/>
            <a:ext cx="210652" cy="210652"/>
            <a:chOff x="5214995" y="-1168400"/>
            <a:chExt cx="431800" cy="431800"/>
          </a:xfrm>
        </p:grpSpPr>
        <p:sp>
          <p:nvSpPr>
            <p:cNvPr id="83" name="Oval 82">
              <a:extLst>
                <a:ext uri="{FF2B5EF4-FFF2-40B4-BE49-F238E27FC236}">
                  <a16:creationId xmlns:a16="http://schemas.microsoft.com/office/drawing/2014/main" id="{C82D2312-1888-7E4C-63E7-F0B9A0902E6D}"/>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85" name="Rectangle 89">
              <a:extLst>
                <a:ext uri="{FF2B5EF4-FFF2-40B4-BE49-F238E27FC236}">
                  <a16:creationId xmlns:a16="http://schemas.microsoft.com/office/drawing/2014/main" id="{E1424AAE-0B41-949F-3E6D-9A5D7323D7DB}"/>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87" name="Group 86">
            <a:extLst>
              <a:ext uri="{FF2B5EF4-FFF2-40B4-BE49-F238E27FC236}">
                <a16:creationId xmlns:a16="http://schemas.microsoft.com/office/drawing/2014/main" id="{DA40472D-7D94-31D5-9B70-1F1437F60342}"/>
              </a:ext>
              <a:ext uri="{C183D7F6-B498-43B3-948B-1728B52AA6E4}">
                <adec:decorative xmlns:adec="http://schemas.microsoft.com/office/drawing/2017/decorative" val="1"/>
              </a:ext>
            </a:extLst>
          </p:cNvPr>
          <p:cNvGrpSpPr/>
          <p:nvPr userDrawn="1"/>
        </p:nvGrpSpPr>
        <p:grpSpPr>
          <a:xfrm rot="5400000">
            <a:off x="11648565" y="3486389"/>
            <a:ext cx="210652" cy="210652"/>
            <a:chOff x="5214995" y="-1168400"/>
            <a:chExt cx="431800" cy="431800"/>
          </a:xfrm>
        </p:grpSpPr>
        <p:sp>
          <p:nvSpPr>
            <p:cNvPr id="88" name="Oval 87">
              <a:extLst>
                <a:ext uri="{FF2B5EF4-FFF2-40B4-BE49-F238E27FC236}">
                  <a16:creationId xmlns:a16="http://schemas.microsoft.com/office/drawing/2014/main" id="{33E7D74F-AA6E-58D6-9B3A-285D63438743}"/>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89" name="Rectangle 89">
              <a:extLst>
                <a:ext uri="{FF2B5EF4-FFF2-40B4-BE49-F238E27FC236}">
                  <a16:creationId xmlns:a16="http://schemas.microsoft.com/office/drawing/2014/main" id="{D741BEDD-0302-D041-F924-FED2F26F753C}"/>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90" name="Group 89">
            <a:extLst>
              <a:ext uri="{FF2B5EF4-FFF2-40B4-BE49-F238E27FC236}">
                <a16:creationId xmlns:a16="http://schemas.microsoft.com/office/drawing/2014/main" id="{7ECE0A2C-9275-E8D8-37D4-26EF9382F090}"/>
              </a:ext>
              <a:ext uri="{C183D7F6-B498-43B3-948B-1728B52AA6E4}">
                <adec:decorative xmlns:adec="http://schemas.microsoft.com/office/drawing/2017/decorative" val="1"/>
              </a:ext>
            </a:extLst>
          </p:cNvPr>
          <p:cNvGrpSpPr/>
          <p:nvPr userDrawn="1"/>
        </p:nvGrpSpPr>
        <p:grpSpPr>
          <a:xfrm flipH="1">
            <a:off x="7247487" y="3859456"/>
            <a:ext cx="210652" cy="210652"/>
            <a:chOff x="5214995" y="-1168400"/>
            <a:chExt cx="431800" cy="431800"/>
          </a:xfrm>
        </p:grpSpPr>
        <p:sp>
          <p:nvSpPr>
            <p:cNvPr id="91" name="Oval 90">
              <a:extLst>
                <a:ext uri="{FF2B5EF4-FFF2-40B4-BE49-F238E27FC236}">
                  <a16:creationId xmlns:a16="http://schemas.microsoft.com/office/drawing/2014/main" id="{9D2B6D01-D3C4-D4AC-FA55-BCAA6D16B124}"/>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92" name="Rectangle 89">
              <a:extLst>
                <a:ext uri="{FF2B5EF4-FFF2-40B4-BE49-F238E27FC236}">
                  <a16:creationId xmlns:a16="http://schemas.microsoft.com/office/drawing/2014/main" id="{E69E9A3D-9D75-565F-769F-9D5EAF4DE661}"/>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10" name="Title 9">
            <a:extLst>
              <a:ext uri="{FF2B5EF4-FFF2-40B4-BE49-F238E27FC236}">
                <a16:creationId xmlns:a16="http://schemas.microsoft.com/office/drawing/2014/main" id="{37120404-23B9-B744-0816-1D0C351C9B66}"/>
              </a:ext>
            </a:extLst>
          </p:cNvPr>
          <p:cNvSpPr>
            <a:spLocks noGrp="1"/>
          </p:cNvSpPr>
          <p:nvPr>
            <p:ph type="title"/>
          </p:nvPr>
        </p:nvSpPr>
        <p:spPr>
          <a:xfrm>
            <a:off x="2492556" y="429376"/>
            <a:ext cx="4144817" cy="276999"/>
          </a:xfrm>
        </p:spPr>
        <p:txBody>
          <a:bodyPr/>
          <a:lstStyle>
            <a:lvl1pPr>
              <a:defRPr lang="en-IN" sz="1800" kern="1200" spc="-50" baseline="0" dirty="0">
                <a:solidFill>
                  <a:schemeClr val="tx1"/>
                </a:solidFill>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dirty="0"/>
              <a:t>Click to edit Master title style</a:t>
            </a:r>
            <a:endParaRPr lang="en-IN" dirty="0"/>
          </a:p>
        </p:txBody>
      </p:sp>
      <p:sp>
        <p:nvSpPr>
          <p:cNvPr id="5" name="Text Placeholder 70">
            <a:extLst>
              <a:ext uri="{FF2B5EF4-FFF2-40B4-BE49-F238E27FC236}">
                <a16:creationId xmlns:a16="http://schemas.microsoft.com/office/drawing/2014/main" id="{BECC6E1E-CB20-24F2-9CE6-B77C08524D07}"/>
              </a:ext>
            </a:extLst>
          </p:cNvPr>
          <p:cNvSpPr>
            <a:spLocks noGrp="1"/>
          </p:cNvSpPr>
          <p:nvPr>
            <p:ph type="body" sz="quarter" idx="33"/>
          </p:nvPr>
        </p:nvSpPr>
        <p:spPr>
          <a:xfrm>
            <a:off x="304796" y="413987"/>
            <a:ext cx="1941119" cy="307777"/>
          </a:xfrm>
        </p:spPr>
        <p:txBody>
          <a:bodyPr anchor="ctr"/>
          <a:lstStyle>
            <a:lvl1pPr marL="0" indent="0">
              <a:spcBef>
                <a:spcPts val="0"/>
              </a:spcBef>
              <a:buNone/>
              <a:defRPr sz="2000" spc="-50" baseline="0">
                <a:solidFill>
                  <a:schemeClr val="bg1"/>
                </a:solidFill>
                <a:latin typeface="+mj-lt"/>
              </a:defRPr>
            </a:lvl1pPr>
            <a:lvl2pPr marL="228600" indent="0">
              <a:buNone/>
              <a:defRPr/>
            </a:lvl2pPr>
          </a:lstStyle>
          <a:p>
            <a:pPr lvl="0"/>
            <a:r>
              <a:rPr lang="en-US"/>
              <a:t>Click to edit</a:t>
            </a:r>
          </a:p>
        </p:txBody>
      </p:sp>
      <p:sp>
        <p:nvSpPr>
          <p:cNvPr id="74" name="Licenses">
            <a:extLst>
              <a:ext uri="{FF2B5EF4-FFF2-40B4-BE49-F238E27FC236}">
                <a16:creationId xmlns:a16="http://schemas.microsoft.com/office/drawing/2014/main" id="{E442F0DF-3967-354D-A17D-A2229F6B3036}"/>
              </a:ext>
            </a:extLst>
          </p:cNvPr>
          <p:cNvSpPr>
            <a:spLocks noGrp="1"/>
          </p:cNvSpPr>
          <p:nvPr userDrawn="1">
            <p:ph type="body" sz="quarter" idx="44"/>
          </p:nvPr>
        </p:nvSpPr>
        <p:spPr>
          <a:xfrm>
            <a:off x="7149557" y="521100"/>
            <a:ext cx="2969488" cy="169277"/>
          </a:xfrm>
        </p:spPr>
        <p:txBody>
          <a:bodyPr/>
          <a:lstStyle>
            <a:lvl1pPr marL="0" indent="0" algn="r">
              <a:spcBef>
                <a:spcPts val="0"/>
              </a:spcBef>
              <a:buNone/>
              <a:defRPr sz="1100" b="1" i="0" spc="0" baseline="0">
                <a:solidFill>
                  <a:srgbClr val="C03BC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Click to edit</a:t>
            </a:r>
          </a:p>
        </p:txBody>
      </p:sp>
      <p:sp>
        <p:nvSpPr>
          <p:cNvPr id="72" name="Level">
            <a:extLst>
              <a:ext uri="{FF2B5EF4-FFF2-40B4-BE49-F238E27FC236}">
                <a16:creationId xmlns:a16="http://schemas.microsoft.com/office/drawing/2014/main" id="{0CD96223-5C6F-D226-0888-B8E8522B7793}"/>
              </a:ext>
            </a:extLst>
          </p:cNvPr>
          <p:cNvSpPr>
            <a:spLocks noGrp="1"/>
          </p:cNvSpPr>
          <p:nvPr userDrawn="1">
            <p:ph type="body" sz="quarter" idx="43"/>
          </p:nvPr>
        </p:nvSpPr>
        <p:spPr>
          <a:xfrm>
            <a:off x="10430351" y="521099"/>
            <a:ext cx="1456966" cy="175614"/>
          </a:xfrm>
        </p:spPr>
        <p:txBody>
          <a:bodyPr/>
          <a:lstStyle>
            <a:lvl1pPr marL="0" indent="0" algn="r">
              <a:spcBef>
                <a:spcPts val="0"/>
              </a:spcBef>
              <a:buNone/>
              <a:defRPr sz="1100" b="1" i="0" spc="0" baseline="0">
                <a:solidFill>
                  <a:srgbClr val="0078D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Click to edit</a:t>
            </a:r>
          </a:p>
        </p:txBody>
      </p:sp>
      <p:sp>
        <p:nvSpPr>
          <p:cNvPr id="14" name="Step 5 Top">
            <a:extLst>
              <a:ext uri="{FF2B5EF4-FFF2-40B4-BE49-F238E27FC236}">
                <a16:creationId xmlns:a16="http://schemas.microsoft.com/office/drawing/2014/main" id="{5F6FC536-93D3-A645-6321-E19971F6F7AD}"/>
              </a:ext>
            </a:extLst>
          </p:cNvPr>
          <p:cNvSpPr>
            <a:spLocks noGrp="1"/>
          </p:cNvSpPr>
          <p:nvPr>
            <p:ph type="body" sz="quarter" idx="42"/>
          </p:nvPr>
        </p:nvSpPr>
        <p:spPr>
          <a:xfrm>
            <a:off x="311388" y="1026303"/>
            <a:ext cx="2431246" cy="1131079"/>
          </a:xfrm>
        </p:spPr>
        <p:txBody>
          <a:bodyPr lIns="0" tIns="0" rIns="0" bIns="0">
            <a:noAutofit/>
          </a:bodyPr>
          <a:lstStyle>
            <a:lvl1pPr marL="0" indent="0">
              <a:spcBef>
                <a:spcPts val="0"/>
              </a:spcBef>
              <a:buNone/>
              <a:defRPr kumimoji="0" lang="en-US" sz="1050" b="0" i="0" u="none" strike="noStrike" kern="100" cap="none" normalizeH="0" baseline="0" dirty="0">
                <a:ln>
                  <a:noFill/>
                </a:ln>
                <a:solidFill>
                  <a:schemeClr val="tx1"/>
                </a:solidFill>
                <a:effectLst/>
                <a:uLnTx/>
                <a:uFillTx/>
                <a:latin typeface="+mn-lt"/>
                <a:ea typeface="Aptos" panose="020B0004020202020204" pitchFamily="34" charset="0"/>
                <a:cs typeface="Times New Roman" panose="02020603050405020304" pitchFamily="18" charset="0"/>
              </a:defRPr>
            </a:lvl1pPr>
          </a:lstStyle>
          <a:p>
            <a:pPr marL="0" marR="0" lvl="0" indent="0" algn="l" defTabSz="914400" rtl="0" eaLnBrk="1" fontAlgn="auto" latinLnBrk="0" hangingPunct="1">
              <a:spcBef>
                <a:spcPts val="0"/>
              </a:spcBef>
              <a:spcAft>
                <a:spcPts val="0"/>
              </a:spcAft>
              <a:buClrTx/>
              <a:buSzTx/>
              <a:buFontTx/>
              <a:buNone/>
              <a:tabLst/>
              <a:defRPr/>
            </a:pPr>
            <a:r>
              <a:rPr lang="en-US"/>
              <a:t>Click to edit Master text styles</a:t>
            </a:r>
          </a:p>
        </p:txBody>
      </p:sp>
      <p:sp>
        <p:nvSpPr>
          <p:cNvPr id="153" name="Text Placeholder 8">
            <a:extLst>
              <a:ext uri="{FF2B5EF4-FFF2-40B4-BE49-F238E27FC236}">
                <a16:creationId xmlns:a16="http://schemas.microsoft.com/office/drawing/2014/main" id="{20290FDF-B386-A402-3F54-8F38D89E3855}"/>
              </a:ext>
            </a:extLst>
          </p:cNvPr>
          <p:cNvSpPr>
            <a:spLocks noGrp="1"/>
          </p:cNvSpPr>
          <p:nvPr>
            <p:ph type="body" sz="quarter" idx="65"/>
          </p:nvPr>
        </p:nvSpPr>
        <p:spPr>
          <a:xfrm>
            <a:off x="320721" y="3467940"/>
            <a:ext cx="1131650" cy="219456"/>
          </a:xfrm>
          <a:prstGeom prst="roundRect">
            <a:avLst>
              <a:gd name="adj" fmla="val 50000"/>
            </a:avLst>
          </a:prstGeom>
          <a:solidFill>
            <a:srgbClr val="0078D4"/>
          </a:solidFill>
          <a:ln w="12700">
            <a:solidFill>
              <a:srgbClr val="0078D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
        <p:nvSpPr>
          <p:cNvPr id="152" name="Text Placeholder 8">
            <a:extLst>
              <a:ext uri="{FF2B5EF4-FFF2-40B4-BE49-F238E27FC236}">
                <a16:creationId xmlns:a16="http://schemas.microsoft.com/office/drawing/2014/main" id="{CC259F50-FF88-8A52-A7A2-B916E54D0007}"/>
              </a:ext>
            </a:extLst>
          </p:cNvPr>
          <p:cNvSpPr>
            <a:spLocks noGrp="1"/>
          </p:cNvSpPr>
          <p:nvPr>
            <p:ph type="body" sz="quarter" idx="64"/>
          </p:nvPr>
        </p:nvSpPr>
        <p:spPr>
          <a:xfrm>
            <a:off x="320721" y="4709762"/>
            <a:ext cx="1131651" cy="219456"/>
          </a:xfrm>
          <a:prstGeom prst="roundRect">
            <a:avLst>
              <a:gd name="adj" fmla="val 50000"/>
            </a:avLst>
          </a:prstGeom>
          <a:solidFill>
            <a:srgbClr val="C03BC4"/>
          </a:solidFill>
          <a:ln w="12700">
            <a:solidFill>
              <a:srgbClr val="C03BC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
        <p:nvSpPr>
          <p:cNvPr id="104" name="Step 1 Title">
            <a:extLst>
              <a:ext uri="{FF2B5EF4-FFF2-40B4-BE49-F238E27FC236}">
                <a16:creationId xmlns:a16="http://schemas.microsoft.com/office/drawing/2014/main" id="{AAECE90F-E2FD-C50D-2380-5A623E6E68CC}"/>
              </a:ext>
            </a:extLst>
          </p:cNvPr>
          <p:cNvSpPr>
            <a:spLocks noGrp="1"/>
          </p:cNvSpPr>
          <p:nvPr userDrawn="1">
            <p:ph type="body" sz="quarter" idx="47"/>
          </p:nvPr>
        </p:nvSpPr>
        <p:spPr>
          <a:xfrm>
            <a:off x="3182890"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10" name="Step 1 Top">
            <a:extLst>
              <a:ext uri="{FF2B5EF4-FFF2-40B4-BE49-F238E27FC236}">
                <a16:creationId xmlns:a16="http://schemas.microsoft.com/office/drawing/2014/main" id="{A10522D6-287E-CAF9-7877-202543AC084D}"/>
              </a:ext>
            </a:extLst>
          </p:cNvPr>
          <p:cNvSpPr>
            <a:spLocks noGrp="1"/>
          </p:cNvSpPr>
          <p:nvPr userDrawn="1">
            <p:ph type="body" sz="quarter" idx="48"/>
          </p:nvPr>
        </p:nvSpPr>
        <p:spPr>
          <a:xfrm>
            <a:off x="3182890"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02" name="Text Placeholder 11">
            <a:extLst>
              <a:ext uri="{FF2B5EF4-FFF2-40B4-BE49-F238E27FC236}">
                <a16:creationId xmlns:a16="http://schemas.microsoft.com/office/drawing/2014/main" id="{899216D1-14EF-7DC6-A6A8-3649535AF5ED}"/>
              </a:ext>
            </a:extLst>
          </p:cNvPr>
          <p:cNvSpPr>
            <a:spLocks noGrp="1"/>
          </p:cNvSpPr>
          <p:nvPr>
            <p:ph type="body" sz="quarter" idx="46"/>
          </p:nvPr>
        </p:nvSpPr>
        <p:spPr>
          <a:xfrm>
            <a:off x="3182889"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14" name="Step 1 Title">
            <a:extLst>
              <a:ext uri="{FF2B5EF4-FFF2-40B4-BE49-F238E27FC236}">
                <a16:creationId xmlns:a16="http://schemas.microsoft.com/office/drawing/2014/main" id="{AFF8CAD5-73C9-15E8-C15B-5669E59EDF22}"/>
              </a:ext>
            </a:extLst>
          </p:cNvPr>
          <p:cNvSpPr>
            <a:spLocks noGrp="1"/>
          </p:cNvSpPr>
          <p:nvPr userDrawn="1">
            <p:ph type="body" sz="quarter" idx="49"/>
          </p:nvPr>
        </p:nvSpPr>
        <p:spPr>
          <a:xfrm>
            <a:off x="6066682"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2"/>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19" name="Step 1 Top">
            <a:extLst>
              <a:ext uri="{FF2B5EF4-FFF2-40B4-BE49-F238E27FC236}">
                <a16:creationId xmlns:a16="http://schemas.microsoft.com/office/drawing/2014/main" id="{CBBB447E-62C7-3EE8-58FD-A63BA4091DC2}"/>
              </a:ext>
            </a:extLst>
          </p:cNvPr>
          <p:cNvSpPr>
            <a:spLocks noGrp="1"/>
          </p:cNvSpPr>
          <p:nvPr userDrawn="1">
            <p:ph type="body" sz="quarter" idx="50"/>
          </p:nvPr>
        </p:nvSpPr>
        <p:spPr>
          <a:xfrm>
            <a:off x="6066682"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3" name="Text Placeholder 11">
            <a:extLst>
              <a:ext uri="{FF2B5EF4-FFF2-40B4-BE49-F238E27FC236}">
                <a16:creationId xmlns:a16="http://schemas.microsoft.com/office/drawing/2014/main" id="{F6E7EFF7-AB37-8C10-0D72-C219A327442B}"/>
              </a:ext>
            </a:extLst>
          </p:cNvPr>
          <p:cNvSpPr>
            <a:spLocks noGrp="1"/>
          </p:cNvSpPr>
          <p:nvPr>
            <p:ph type="body" sz="quarter" idx="66"/>
          </p:nvPr>
        </p:nvSpPr>
        <p:spPr>
          <a:xfrm>
            <a:off x="6066682"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27" name="Step 1 Title">
            <a:extLst>
              <a:ext uri="{FF2B5EF4-FFF2-40B4-BE49-F238E27FC236}">
                <a16:creationId xmlns:a16="http://schemas.microsoft.com/office/drawing/2014/main" id="{DC3628C0-ED08-9682-4738-5B06F7C21C56}"/>
              </a:ext>
            </a:extLst>
          </p:cNvPr>
          <p:cNvSpPr>
            <a:spLocks noGrp="1"/>
          </p:cNvSpPr>
          <p:nvPr userDrawn="1">
            <p:ph type="body" sz="quarter" idx="52"/>
          </p:nvPr>
        </p:nvSpPr>
        <p:spPr>
          <a:xfrm>
            <a:off x="8950475"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3"/>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28" name="Step 1 Top">
            <a:extLst>
              <a:ext uri="{FF2B5EF4-FFF2-40B4-BE49-F238E27FC236}">
                <a16:creationId xmlns:a16="http://schemas.microsoft.com/office/drawing/2014/main" id="{E91EBCF2-F3C6-3640-61AD-0C42AE3B6C92}"/>
              </a:ext>
            </a:extLst>
          </p:cNvPr>
          <p:cNvSpPr>
            <a:spLocks noGrp="1"/>
          </p:cNvSpPr>
          <p:nvPr userDrawn="1">
            <p:ph type="body" sz="quarter" idx="53"/>
          </p:nvPr>
        </p:nvSpPr>
        <p:spPr>
          <a:xfrm>
            <a:off x="8950475"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4" name="Text Placeholder 11">
            <a:extLst>
              <a:ext uri="{FF2B5EF4-FFF2-40B4-BE49-F238E27FC236}">
                <a16:creationId xmlns:a16="http://schemas.microsoft.com/office/drawing/2014/main" id="{6820393F-A448-2E4C-089D-807F9DC2A07E}"/>
              </a:ext>
            </a:extLst>
          </p:cNvPr>
          <p:cNvSpPr>
            <a:spLocks noGrp="1"/>
          </p:cNvSpPr>
          <p:nvPr>
            <p:ph type="body" sz="quarter" idx="67"/>
          </p:nvPr>
        </p:nvSpPr>
        <p:spPr>
          <a:xfrm>
            <a:off x="8950475"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38" name="Step 1 Title">
            <a:extLst>
              <a:ext uri="{FF2B5EF4-FFF2-40B4-BE49-F238E27FC236}">
                <a16:creationId xmlns:a16="http://schemas.microsoft.com/office/drawing/2014/main" id="{E7C3DF1D-9756-4E60-3B60-5FC1042D732B}"/>
              </a:ext>
            </a:extLst>
          </p:cNvPr>
          <p:cNvSpPr>
            <a:spLocks noGrp="1"/>
          </p:cNvSpPr>
          <p:nvPr userDrawn="1">
            <p:ph type="body" sz="quarter" idx="61"/>
          </p:nvPr>
        </p:nvSpPr>
        <p:spPr>
          <a:xfrm>
            <a:off x="7507483" y="3725103"/>
            <a:ext cx="3161734" cy="153888"/>
          </a:xfrm>
          <a:prstGeom prst="rect">
            <a:avLst/>
          </a:prstGeom>
          <a:noFill/>
          <a:effectLst/>
        </p:spPr>
        <p:txBody>
          <a:bodyPr wrap="square" lIns="0" tIns="0" rIns="0" bIns="0" anchor="ctr" anchorCtr="0">
            <a:spAutoFit/>
          </a:bodyPr>
          <a:lstStyle>
            <a:lvl1pPr marL="114300" indent="-114300" algn="l">
              <a:buSzPct val="100000"/>
              <a:buFont typeface="+mj-lt"/>
              <a:buAutoNum type="arabicPeriod" startAt="4"/>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39" name="Step 1 Top">
            <a:extLst>
              <a:ext uri="{FF2B5EF4-FFF2-40B4-BE49-F238E27FC236}">
                <a16:creationId xmlns:a16="http://schemas.microsoft.com/office/drawing/2014/main" id="{DD4D8F41-19D0-1C40-C8A6-6751BDCBB4E6}"/>
              </a:ext>
            </a:extLst>
          </p:cNvPr>
          <p:cNvSpPr>
            <a:spLocks noGrp="1"/>
          </p:cNvSpPr>
          <p:nvPr userDrawn="1">
            <p:ph type="body" sz="quarter" idx="62"/>
          </p:nvPr>
        </p:nvSpPr>
        <p:spPr>
          <a:xfrm>
            <a:off x="7507483" y="4050957"/>
            <a:ext cx="3161734"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7" name="Text Placeholder 11">
            <a:extLst>
              <a:ext uri="{FF2B5EF4-FFF2-40B4-BE49-F238E27FC236}">
                <a16:creationId xmlns:a16="http://schemas.microsoft.com/office/drawing/2014/main" id="{0510E80C-A092-E34D-569F-C7503B34CDEA}"/>
              </a:ext>
            </a:extLst>
          </p:cNvPr>
          <p:cNvSpPr>
            <a:spLocks noGrp="1"/>
          </p:cNvSpPr>
          <p:nvPr>
            <p:ph type="body" sz="quarter" idx="69"/>
          </p:nvPr>
        </p:nvSpPr>
        <p:spPr>
          <a:xfrm>
            <a:off x="7507483" y="5338502"/>
            <a:ext cx="3161734"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35" name="Step 1 Title">
            <a:extLst>
              <a:ext uri="{FF2B5EF4-FFF2-40B4-BE49-F238E27FC236}">
                <a16:creationId xmlns:a16="http://schemas.microsoft.com/office/drawing/2014/main" id="{F3576EDF-8C4D-5381-E991-4104EFE19D8D}"/>
              </a:ext>
            </a:extLst>
          </p:cNvPr>
          <p:cNvSpPr>
            <a:spLocks noGrp="1"/>
          </p:cNvSpPr>
          <p:nvPr userDrawn="1">
            <p:ph type="body" sz="quarter" idx="58"/>
          </p:nvPr>
        </p:nvSpPr>
        <p:spPr>
          <a:xfrm>
            <a:off x="4036409" y="3725103"/>
            <a:ext cx="3161734" cy="153888"/>
          </a:xfrm>
          <a:prstGeom prst="rect">
            <a:avLst/>
          </a:prstGeom>
          <a:noFill/>
          <a:effectLst/>
        </p:spPr>
        <p:txBody>
          <a:bodyPr wrap="square" lIns="0" tIns="0" rIns="0" bIns="0" anchor="ctr" anchorCtr="0">
            <a:spAutoFit/>
          </a:bodyPr>
          <a:lstStyle>
            <a:lvl1pPr marL="114300" indent="-114300" algn="l">
              <a:buSzPct val="100000"/>
              <a:buFont typeface="+mj-lt"/>
              <a:buAutoNum type="arabicPeriod" startAt="5"/>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36" name="Step 1 Top">
            <a:extLst>
              <a:ext uri="{FF2B5EF4-FFF2-40B4-BE49-F238E27FC236}">
                <a16:creationId xmlns:a16="http://schemas.microsoft.com/office/drawing/2014/main" id="{E979A6D5-04D7-EDA1-795C-CDE631F70816}"/>
              </a:ext>
            </a:extLst>
          </p:cNvPr>
          <p:cNvSpPr>
            <a:spLocks noGrp="1"/>
          </p:cNvSpPr>
          <p:nvPr userDrawn="1">
            <p:ph type="body" sz="quarter" idx="59"/>
          </p:nvPr>
        </p:nvSpPr>
        <p:spPr>
          <a:xfrm>
            <a:off x="4036409" y="4050957"/>
            <a:ext cx="3161734"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6" name="Text Placeholder 11">
            <a:extLst>
              <a:ext uri="{FF2B5EF4-FFF2-40B4-BE49-F238E27FC236}">
                <a16:creationId xmlns:a16="http://schemas.microsoft.com/office/drawing/2014/main" id="{DACE21C0-49A4-DA91-EDBF-71FBF06125C4}"/>
              </a:ext>
            </a:extLst>
          </p:cNvPr>
          <p:cNvSpPr>
            <a:spLocks noGrp="1"/>
          </p:cNvSpPr>
          <p:nvPr>
            <p:ph type="body" sz="quarter" idx="68"/>
          </p:nvPr>
        </p:nvSpPr>
        <p:spPr>
          <a:xfrm>
            <a:off x="4036409" y="5338502"/>
            <a:ext cx="3161734"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45" name="Footnote">
            <a:extLst>
              <a:ext uri="{FF2B5EF4-FFF2-40B4-BE49-F238E27FC236}">
                <a16:creationId xmlns:a16="http://schemas.microsoft.com/office/drawing/2014/main" id="{EFC765AC-7584-A8D3-1059-43D998733533}"/>
              </a:ext>
            </a:extLst>
          </p:cNvPr>
          <p:cNvSpPr txBox="1">
            <a:spLocks/>
          </p:cNvSpPr>
          <p:nvPr userDrawn="1"/>
        </p:nvSpPr>
        <p:spPr>
          <a:xfrm>
            <a:off x="320040" y="6309360"/>
            <a:ext cx="9597418"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7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1</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or the Microsoft 365 Copilot Chat mobile app and set toggle to “Web”.</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2</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the Microsoft 365 Copilot Chat mobile app, or the M365 Copilot Chat app in Teams, and set toggle to “Work”.</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3</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pilot agents allow Copilot to access your organization-specific apps. In the past this would have required an API call to get data from a system of record.</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he content in this example scenario is for demonstration purposes only. You should evaluate how Copilot aligns with your organization’s business processes, regulatory requirements, and responsible AI principles.5</a:t>
            </a:r>
          </a:p>
        </p:txBody>
      </p:sp>
    </p:spTree>
    <p:extLst>
      <p:ext uri="{BB962C8B-B14F-4D97-AF65-F5344CB8AC3E}">
        <p14:creationId xmlns:p14="http://schemas.microsoft.com/office/powerpoint/2010/main" val="5665719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8">
          <p15:clr>
            <a:srgbClr val="A4A3A4"/>
          </p15:clr>
        </p15:guide>
        <p15:guide id="11" pos="2150">
          <p15:clr>
            <a:srgbClr val="A4A3A4"/>
          </p15:clr>
        </p15:guide>
        <p15:guide id="12" pos="2561">
          <p15:clr>
            <a:srgbClr val="A4A3A4"/>
          </p15:clr>
        </p15:guide>
        <p15:guide id="13" pos="2760">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4">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Scenario six steps">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B196B9EA-FBFB-4858-13AE-0D3B6A1BFE98}"/>
              </a:ext>
            </a:extLst>
          </p:cNvPr>
          <p:cNvSpPr>
            <a:spLocks/>
          </p:cNvSpPr>
          <p:nvPr userDrawn="1"/>
        </p:nvSpPr>
        <p:spPr bwMode="auto">
          <a:xfrm>
            <a:off x="2179638" y="304726"/>
            <a:ext cx="4582191" cy="526298"/>
          </a:xfrm>
          <a:prstGeom prst="roundRect">
            <a:avLst/>
          </a:prstGeom>
          <a:solidFill>
            <a:srgbClr val="DDEEF8"/>
          </a:solidFill>
          <a:ln>
            <a:solidFill>
              <a:schemeClr val="bg1"/>
            </a:solidFill>
            <a:headEnd type="none" w="med" len="med"/>
            <a:tailEnd type="none" w="med" len="med"/>
          </a:ln>
          <a:effectLst>
            <a:outerShdw blurRad="254000" algn="ctr" rotWithShape="0">
              <a:schemeClr val="bg1">
                <a:lumMod val="75000"/>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1148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1200"/>
              </a:spcBef>
              <a:spcAft>
                <a:spcPts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4" name="TextBox 13">
            <a:extLst>
              <a:ext uri="{FF2B5EF4-FFF2-40B4-BE49-F238E27FC236}">
                <a16:creationId xmlns:a16="http://schemas.microsoft.com/office/drawing/2014/main" id="{0510B21A-B692-149F-D60C-5E53B60E00B6}"/>
              </a:ext>
            </a:extLst>
          </p:cNvPr>
          <p:cNvSpPr txBox="1">
            <a:spLocks/>
          </p:cNvSpPr>
          <p:nvPr userDrawn="1"/>
        </p:nvSpPr>
        <p:spPr>
          <a:xfrm>
            <a:off x="0" y="304726"/>
            <a:ext cx="2431247" cy="526298"/>
          </a:xfrm>
          <a:custGeom>
            <a:avLst/>
            <a:gdLst>
              <a:gd name="connsiteX0" fmla="*/ 1993 w 2431247"/>
              <a:gd name="connsiteY0" fmla="*/ 0 h 526298"/>
              <a:gd name="connsiteX1" fmla="*/ 2338766 w 2431247"/>
              <a:gd name="connsiteY1" fmla="*/ 0 h 526298"/>
              <a:gd name="connsiteX2" fmla="*/ 2431247 w 2431247"/>
              <a:gd name="connsiteY2" fmla="*/ 92481 h 526298"/>
              <a:gd name="connsiteX3" fmla="*/ 2431247 w 2431247"/>
              <a:gd name="connsiteY3" fmla="*/ 433817 h 526298"/>
              <a:gd name="connsiteX4" fmla="*/ 2338766 w 2431247"/>
              <a:gd name="connsiteY4" fmla="*/ 526298 h 526298"/>
              <a:gd name="connsiteX5" fmla="*/ 1993 w 2431247"/>
              <a:gd name="connsiteY5" fmla="*/ 526298 h 526298"/>
              <a:gd name="connsiteX6" fmla="*/ 0 w 2431247"/>
              <a:gd name="connsiteY6" fmla="*/ 525896 h 526298"/>
              <a:gd name="connsiteX7" fmla="*/ 0 w 2431247"/>
              <a:gd name="connsiteY7" fmla="*/ 402 h 526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1247" h="526298">
                <a:moveTo>
                  <a:pt x="1993" y="0"/>
                </a:moveTo>
                <a:lnTo>
                  <a:pt x="2338766" y="0"/>
                </a:lnTo>
                <a:cubicBezTo>
                  <a:pt x="2389842" y="0"/>
                  <a:pt x="2431247" y="41405"/>
                  <a:pt x="2431247" y="92481"/>
                </a:cubicBezTo>
                <a:lnTo>
                  <a:pt x="2431247" y="433817"/>
                </a:lnTo>
                <a:cubicBezTo>
                  <a:pt x="2431247" y="484893"/>
                  <a:pt x="2389842" y="526298"/>
                  <a:pt x="2338766" y="526298"/>
                </a:cubicBezTo>
                <a:lnTo>
                  <a:pt x="1993" y="526298"/>
                </a:lnTo>
                <a:lnTo>
                  <a:pt x="0" y="525896"/>
                </a:lnTo>
                <a:lnTo>
                  <a:pt x="0" y="402"/>
                </a:lnTo>
                <a:close/>
              </a:path>
            </a:pathLst>
          </a:custGeom>
          <a:gradFill flip="none" rotWithShape="1">
            <a:gsLst>
              <a:gs pos="35000">
                <a:srgbClr val="0078D4"/>
              </a:gs>
              <a:gs pos="0">
                <a:srgbClr val="C03BC4"/>
              </a:gs>
            </a:gsLst>
            <a:path path="circle">
              <a:fillToRect l="100000" t="100000"/>
            </a:path>
            <a:tileRect r="-100000" b="-100000"/>
          </a:gradFill>
          <a:effectLst/>
        </p:spPr>
        <p:txBody>
          <a:bodyPr vert="horz" wrap="square" lIns="310896" tIns="0" rIns="0" bIns="0" rtlCol="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1" i="0" kern="1200" spc="0" baseline="0">
                <a:solidFill>
                  <a:srgbClr val="FFFFFF"/>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37" name="Step 5 Top">
            <a:extLst>
              <a:ext uri="{FF2B5EF4-FFF2-40B4-BE49-F238E27FC236}">
                <a16:creationId xmlns:a16="http://schemas.microsoft.com/office/drawing/2014/main" id="{6A995B05-0623-381A-BC20-075E020B55FB}"/>
              </a:ext>
            </a:extLst>
          </p:cNvPr>
          <p:cNvSpPr>
            <a:spLocks noGrp="1"/>
          </p:cNvSpPr>
          <p:nvPr>
            <p:ph type="body" sz="quarter" idx="32"/>
          </p:nvPr>
        </p:nvSpPr>
        <p:spPr>
          <a:xfrm>
            <a:off x="311388" y="1026303"/>
            <a:ext cx="2431246" cy="1131079"/>
          </a:xfrm>
        </p:spPr>
        <p:txBody>
          <a:bodyPr lIns="0" tIns="0" rIns="0" bIns="0">
            <a:noAutofit/>
          </a:bodyPr>
          <a:lstStyle>
            <a:lvl1pPr marL="0" indent="0">
              <a:spcBef>
                <a:spcPts val="0"/>
              </a:spcBef>
              <a:buNone/>
              <a:defRPr kumimoji="0" lang="en-US" sz="1050" b="0" i="0" u="none" strike="noStrike" kern="100" cap="none" normalizeH="0" baseline="0" dirty="0">
                <a:ln>
                  <a:noFill/>
                </a:ln>
                <a:solidFill>
                  <a:schemeClr val="tx1"/>
                </a:solidFill>
                <a:effectLst/>
                <a:uLnTx/>
                <a:uFillTx/>
                <a:latin typeface="+mn-lt"/>
                <a:ea typeface="Aptos" panose="020B0004020202020204" pitchFamily="34" charset="0"/>
                <a:cs typeface="Times New Roman" panose="02020603050405020304" pitchFamily="18" charset="0"/>
              </a:defRPr>
            </a:lvl1pPr>
          </a:lstStyle>
          <a:p>
            <a:pPr marL="0" marR="0" lvl="0" indent="0" algn="l" defTabSz="914400" rtl="0" eaLnBrk="1" fontAlgn="auto" latinLnBrk="0" hangingPunct="1">
              <a:spcBef>
                <a:spcPts val="0"/>
              </a:spcBef>
              <a:spcAft>
                <a:spcPts val="0"/>
              </a:spcAft>
              <a:buClrTx/>
              <a:buSzTx/>
              <a:buFontTx/>
              <a:buNone/>
              <a:tabLst/>
              <a:defRPr/>
            </a:pPr>
            <a:r>
              <a:rPr lang="en-US"/>
              <a:t>Click to edit Master text styles</a:t>
            </a:r>
          </a:p>
        </p:txBody>
      </p:sp>
      <p:sp>
        <p:nvSpPr>
          <p:cNvPr id="71" name="Text Placeholder 70">
            <a:extLst>
              <a:ext uri="{FF2B5EF4-FFF2-40B4-BE49-F238E27FC236}">
                <a16:creationId xmlns:a16="http://schemas.microsoft.com/office/drawing/2014/main" id="{82157D41-F80D-AE68-F668-478CD741D476}"/>
              </a:ext>
            </a:extLst>
          </p:cNvPr>
          <p:cNvSpPr>
            <a:spLocks noGrp="1"/>
          </p:cNvSpPr>
          <p:nvPr>
            <p:ph type="body" sz="quarter" idx="33"/>
          </p:nvPr>
        </p:nvSpPr>
        <p:spPr>
          <a:xfrm>
            <a:off x="304796" y="413987"/>
            <a:ext cx="2057403" cy="307777"/>
          </a:xfrm>
        </p:spPr>
        <p:txBody>
          <a:bodyPr anchor="ctr"/>
          <a:lstStyle>
            <a:lvl1pPr marL="0" indent="0" algn="l" defTabSz="932742" rtl="0" eaLnBrk="1" latinLnBrk="0" hangingPunct="1">
              <a:lnSpc>
                <a:spcPct val="100000"/>
              </a:lnSpc>
              <a:spcBef>
                <a:spcPct val="0"/>
              </a:spcBef>
              <a:buNone/>
              <a:defRPr lang="en-US" sz="2000" b="0" kern="1200" cap="none" spc="-50" baseline="0" dirty="0">
                <a:ln w="3175">
                  <a:noFill/>
                </a:ln>
                <a:solidFill>
                  <a:schemeClr val="bg1"/>
                </a:solidFill>
                <a:effectLst/>
                <a:latin typeface="+mj-lt"/>
                <a:ea typeface="+mn-ea"/>
                <a:cs typeface="Segoe UI" pitchFamily="34" charset="0"/>
              </a:defRPr>
            </a:lvl1pPr>
            <a:lvl2pPr marL="228600" indent="0">
              <a:buNone/>
              <a:defRPr/>
            </a:lvl2pPr>
          </a:lstStyle>
          <a:p>
            <a:pPr lvl="0"/>
            <a:r>
              <a:rPr lang="en-US"/>
              <a:t>Click to edit</a:t>
            </a:r>
          </a:p>
        </p:txBody>
      </p:sp>
      <p:sp>
        <p:nvSpPr>
          <p:cNvPr id="75" name="Scenario Level">
            <a:extLst>
              <a:ext uri="{FF2B5EF4-FFF2-40B4-BE49-F238E27FC236}">
                <a16:creationId xmlns:a16="http://schemas.microsoft.com/office/drawing/2014/main" id="{1BB75DAB-4D8A-2933-BB52-0C94AA4816E3}"/>
              </a:ext>
            </a:extLst>
          </p:cNvPr>
          <p:cNvSpPr txBox="1"/>
          <p:nvPr userDrawn="1"/>
        </p:nvSpPr>
        <p:spPr>
          <a:xfrm>
            <a:off x="10895070"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Scenario level:</a:t>
            </a:r>
          </a:p>
        </p:txBody>
      </p:sp>
      <p:sp>
        <p:nvSpPr>
          <p:cNvPr id="5" name="Level">
            <a:extLst>
              <a:ext uri="{FF2B5EF4-FFF2-40B4-BE49-F238E27FC236}">
                <a16:creationId xmlns:a16="http://schemas.microsoft.com/office/drawing/2014/main" id="{D78A2D53-01ED-9D74-9712-451C6F321482}"/>
              </a:ext>
            </a:extLst>
          </p:cNvPr>
          <p:cNvSpPr>
            <a:spLocks noGrp="1"/>
          </p:cNvSpPr>
          <p:nvPr>
            <p:ph type="body" sz="quarter" idx="30"/>
          </p:nvPr>
        </p:nvSpPr>
        <p:spPr>
          <a:xfrm>
            <a:off x="10430351" y="521099"/>
            <a:ext cx="1456966" cy="175614"/>
          </a:xfrm>
        </p:spPr>
        <p:txBody>
          <a:bodyPr/>
          <a:lstStyle>
            <a:lvl1pPr marL="0" indent="0" algn="r">
              <a:spcBef>
                <a:spcPts val="0"/>
              </a:spcBef>
              <a:buNone/>
              <a:defRPr sz="1100" b="0" i="0" spc="0" baseline="0">
                <a:solidFill>
                  <a:srgbClr val="0078D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Click to edit </a:t>
            </a:r>
          </a:p>
        </p:txBody>
      </p:sp>
      <p:sp>
        <p:nvSpPr>
          <p:cNvPr id="84" name="Available with">
            <a:extLst>
              <a:ext uri="{FF2B5EF4-FFF2-40B4-BE49-F238E27FC236}">
                <a16:creationId xmlns:a16="http://schemas.microsoft.com/office/drawing/2014/main" id="{8D8427AA-F015-D373-46E2-2EB1053D80CE}"/>
              </a:ext>
            </a:extLst>
          </p:cNvPr>
          <p:cNvSpPr txBox="1"/>
          <p:nvPr userDrawn="1"/>
        </p:nvSpPr>
        <p:spPr>
          <a:xfrm>
            <a:off x="9126798"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Available with:</a:t>
            </a:r>
          </a:p>
        </p:txBody>
      </p:sp>
      <p:sp>
        <p:nvSpPr>
          <p:cNvPr id="103" name="Licenses">
            <a:extLst>
              <a:ext uri="{FF2B5EF4-FFF2-40B4-BE49-F238E27FC236}">
                <a16:creationId xmlns:a16="http://schemas.microsoft.com/office/drawing/2014/main" id="{6B562108-00FE-5F42-7550-13BB7DE58EA1}"/>
              </a:ext>
            </a:extLst>
          </p:cNvPr>
          <p:cNvSpPr>
            <a:spLocks noGrp="1"/>
          </p:cNvSpPr>
          <p:nvPr>
            <p:ph type="body" sz="quarter" idx="17"/>
          </p:nvPr>
        </p:nvSpPr>
        <p:spPr>
          <a:xfrm>
            <a:off x="7149557" y="521100"/>
            <a:ext cx="2969488" cy="169277"/>
          </a:xfrm>
        </p:spPr>
        <p:txBody>
          <a:bodyPr/>
          <a:lstStyle>
            <a:lvl1pPr marL="0" indent="0" algn="r">
              <a:spcBef>
                <a:spcPts val="0"/>
              </a:spcBef>
              <a:buNone/>
              <a:defRPr sz="1100" b="0" i="0" spc="0" baseline="0">
                <a:solidFill>
                  <a:srgbClr val="C03BC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Click to edit</a:t>
            </a:r>
          </a:p>
        </p:txBody>
      </p:sp>
      <p:cxnSp>
        <p:nvCxnSpPr>
          <p:cNvPr id="86" name="Straight Connector 85">
            <a:extLst>
              <a:ext uri="{FF2B5EF4-FFF2-40B4-BE49-F238E27FC236}">
                <a16:creationId xmlns:a16="http://schemas.microsoft.com/office/drawing/2014/main" id="{4216CED8-8F45-B380-FB1B-B9408979340F}"/>
              </a:ext>
            </a:extLst>
          </p:cNvPr>
          <p:cNvCxnSpPr/>
          <p:nvPr userDrawn="1"/>
        </p:nvCxnSpPr>
        <p:spPr>
          <a:xfrm>
            <a:off x="10357789"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2">
            <a:extLst>
              <a:ext uri="{FF2B5EF4-FFF2-40B4-BE49-F238E27FC236}">
                <a16:creationId xmlns:a16="http://schemas.microsoft.com/office/drawing/2014/main" id="{26B05CF8-4E6B-B8CC-5AA9-B8ED44639968}"/>
              </a:ext>
            </a:extLst>
          </p:cNvPr>
          <p:cNvSpPr>
            <a:spLocks noGrp="1"/>
          </p:cNvSpPr>
          <p:nvPr>
            <p:ph type="title"/>
          </p:nvPr>
        </p:nvSpPr>
        <p:spPr>
          <a:xfrm>
            <a:off x="2492556" y="429376"/>
            <a:ext cx="4144817" cy="276999"/>
          </a:xfrm>
        </p:spPr>
        <p:txBody>
          <a:bodyPr anchor="ctr"/>
          <a:lstStyle>
            <a:lvl1pPr>
              <a:defRPr lang="en-US" sz="1800" b="0" kern="1200" cap="none" spc="-50" baseline="0" dirty="0">
                <a:ln w="3175">
                  <a:noFill/>
                </a:ln>
                <a:solidFill>
                  <a:schemeClr val="tx1"/>
                </a:solidFill>
                <a:effectLst/>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to edit</a:t>
            </a:r>
          </a:p>
        </p:txBody>
      </p:sp>
      <p:sp>
        <p:nvSpPr>
          <p:cNvPr id="74" name="Rectangle: Top Corners Rounded 73">
            <a:extLst>
              <a:ext uri="{FF2B5EF4-FFF2-40B4-BE49-F238E27FC236}">
                <a16:creationId xmlns:a16="http://schemas.microsoft.com/office/drawing/2014/main" id="{9C693E26-EC61-AEAC-C1C4-733CBC83CC4A}"/>
              </a:ext>
            </a:extLst>
          </p:cNvPr>
          <p:cNvSpPr>
            <a:spLocks/>
          </p:cNvSpPr>
          <p:nvPr userDrawn="1"/>
        </p:nvSpPr>
        <p:spPr bwMode="auto">
          <a:xfrm rot="16200000" flipV="1">
            <a:off x="6107793" y="-1681313"/>
            <a:ext cx="2612241" cy="8679949"/>
          </a:xfrm>
          <a:custGeom>
            <a:avLst/>
            <a:gdLst>
              <a:gd name="connsiteX0" fmla="*/ 163683 w 2612241"/>
              <a:gd name="connsiteY0" fmla="*/ 0 h 8666696"/>
              <a:gd name="connsiteX1" fmla="*/ 2448558 w 2612241"/>
              <a:gd name="connsiteY1" fmla="*/ 0 h 8666696"/>
              <a:gd name="connsiteX2" fmla="*/ 2612241 w 2612241"/>
              <a:gd name="connsiteY2" fmla="*/ 163683 h 8666696"/>
              <a:gd name="connsiteX3" fmla="*/ 2612241 w 2612241"/>
              <a:gd name="connsiteY3" fmla="*/ 8666696 h 8666696"/>
              <a:gd name="connsiteX4" fmla="*/ 2612241 w 2612241"/>
              <a:gd name="connsiteY4" fmla="*/ 8666696 h 8666696"/>
              <a:gd name="connsiteX5" fmla="*/ 0 w 2612241"/>
              <a:gd name="connsiteY5" fmla="*/ 8666696 h 8666696"/>
              <a:gd name="connsiteX6" fmla="*/ 0 w 2612241"/>
              <a:gd name="connsiteY6" fmla="*/ 8666696 h 8666696"/>
              <a:gd name="connsiteX7" fmla="*/ 0 w 2612241"/>
              <a:gd name="connsiteY7" fmla="*/ 163683 h 8666696"/>
              <a:gd name="connsiteX8" fmla="*/ 163683 w 2612241"/>
              <a:gd name="connsiteY8" fmla="*/ 0 h 8666696"/>
              <a:gd name="connsiteX0" fmla="*/ 0 w 2612241"/>
              <a:gd name="connsiteY0" fmla="*/ 8666696 h 8758136"/>
              <a:gd name="connsiteX1" fmla="*/ 0 w 2612241"/>
              <a:gd name="connsiteY1" fmla="*/ 163683 h 8758136"/>
              <a:gd name="connsiteX2" fmla="*/ 163683 w 2612241"/>
              <a:gd name="connsiteY2" fmla="*/ 0 h 8758136"/>
              <a:gd name="connsiteX3" fmla="*/ 2448558 w 2612241"/>
              <a:gd name="connsiteY3" fmla="*/ 0 h 8758136"/>
              <a:gd name="connsiteX4" fmla="*/ 2612241 w 2612241"/>
              <a:gd name="connsiteY4" fmla="*/ 163683 h 8758136"/>
              <a:gd name="connsiteX5" fmla="*/ 2612241 w 2612241"/>
              <a:gd name="connsiteY5" fmla="*/ 8666696 h 8758136"/>
              <a:gd name="connsiteX6" fmla="*/ 2612241 w 2612241"/>
              <a:gd name="connsiteY6" fmla="*/ 8666696 h 8758136"/>
              <a:gd name="connsiteX7" fmla="*/ 0 w 2612241"/>
              <a:gd name="connsiteY7" fmla="*/ 8666696 h 8758136"/>
              <a:gd name="connsiteX8" fmla="*/ 91440 w 2612241"/>
              <a:gd name="connsiteY8" fmla="*/ 8758136 h 8758136"/>
              <a:gd name="connsiteX0" fmla="*/ 0 w 2612241"/>
              <a:gd name="connsiteY0" fmla="*/ 8666696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 name="connsiteX7" fmla="*/ 0 w 2612241"/>
              <a:gd name="connsiteY7" fmla="*/ 8666696 h 8666696"/>
              <a:gd name="connsiteX0" fmla="*/ 0 w 2612241"/>
              <a:gd name="connsiteY0" fmla="*/ 8666696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2241" h="8666696">
                <a:moveTo>
                  <a:pt x="0" y="8666696"/>
                </a:moveTo>
                <a:lnTo>
                  <a:pt x="0" y="163683"/>
                </a:lnTo>
                <a:cubicBezTo>
                  <a:pt x="0" y="73283"/>
                  <a:pt x="73283" y="0"/>
                  <a:pt x="163683" y="0"/>
                </a:cubicBezTo>
                <a:lnTo>
                  <a:pt x="2448558" y="0"/>
                </a:lnTo>
                <a:cubicBezTo>
                  <a:pt x="2538958" y="0"/>
                  <a:pt x="2612241" y="73283"/>
                  <a:pt x="2612241" y="163683"/>
                </a:cubicBezTo>
                <a:lnTo>
                  <a:pt x="2612241" y="8666696"/>
                </a:lnTo>
                <a:lnTo>
                  <a:pt x="2612241" y="8666696"/>
                </a:lnTo>
              </a:path>
            </a:pathLst>
          </a:custGeom>
          <a:ln w="15875" cap="flat">
            <a:gradFill flip="none" rotWithShape="1">
              <a:gsLst>
                <a:gs pos="0">
                  <a:srgbClr val="0078D4"/>
                </a:gs>
                <a:gs pos="100000">
                  <a:schemeClr val="accent3"/>
                </a:gs>
              </a:gsLst>
              <a:lin ang="1620000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45" name="Group 44">
            <a:extLst>
              <a:ext uri="{FF2B5EF4-FFF2-40B4-BE49-F238E27FC236}">
                <a16:creationId xmlns:a16="http://schemas.microsoft.com/office/drawing/2014/main" id="{68467A5F-7BA2-6E3A-1EFE-31FAA4F5B267}"/>
              </a:ext>
              <a:ext uri="{C183D7F6-B498-43B3-948B-1728B52AA6E4}">
                <adec:decorative xmlns:adec="http://schemas.microsoft.com/office/drawing/2017/decorative" val="1"/>
              </a:ext>
            </a:extLst>
          </p:cNvPr>
          <p:cNvGrpSpPr/>
          <p:nvPr userDrawn="1"/>
        </p:nvGrpSpPr>
        <p:grpSpPr>
          <a:xfrm>
            <a:off x="5805591" y="1247214"/>
            <a:ext cx="210652" cy="210652"/>
            <a:chOff x="5214995" y="-1168400"/>
            <a:chExt cx="431800" cy="431800"/>
          </a:xfrm>
        </p:grpSpPr>
        <p:sp>
          <p:nvSpPr>
            <p:cNvPr id="46" name="Oval 45">
              <a:extLst>
                <a:ext uri="{FF2B5EF4-FFF2-40B4-BE49-F238E27FC236}">
                  <a16:creationId xmlns:a16="http://schemas.microsoft.com/office/drawing/2014/main" id="{1514AE07-2437-886C-64BF-90FCDB18900D}"/>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47" name="Rectangle 89">
              <a:extLst>
                <a:ext uri="{FF2B5EF4-FFF2-40B4-BE49-F238E27FC236}">
                  <a16:creationId xmlns:a16="http://schemas.microsoft.com/office/drawing/2014/main" id="{F1304105-F302-1DA2-7A52-41BBBCC44EED}"/>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57" name="Group 56">
            <a:extLst>
              <a:ext uri="{FF2B5EF4-FFF2-40B4-BE49-F238E27FC236}">
                <a16:creationId xmlns:a16="http://schemas.microsoft.com/office/drawing/2014/main" id="{5C32FE7B-F07D-C499-EA83-97D8A5B9D99A}"/>
              </a:ext>
              <a:ext uri="{C183D7F6-B498-43B3-948B-1728B52AA6E4}">
                <adec:decorative xmlns:adec="http://schemas.microsoft.com/office/drawing/2017/decorative" val="1"/>
              </a:ext>
            </a:extLst>
          </p:cNvPr>
          <p:cNvGrpSpPr/>
          <p:nvPr userDrawn="1"/>
        </p:nvGrpSpPr>
        <p:grpSpPr>
          <a:xfrm>
            <a:off x="8689384" y="1247214"/>
            <a:ext cx="210652" cy="210652"/>
            <a:chOff x="5214995" y="-1168400"/>
            <a:chExt cx="431800" cy="431800"/>
          </a:xfrm>
        </p:grpSpPr>
        <p:sp>
          <p:nvSpPr>
            <p:cNvPr id="58" name="Oval 57">
              <a:extLst>
                <a:ext uri="{FF2B5EF4-FFF2-40B4-BE49-F238E27FC236}">
                  <a16:creationId xmlns:a16="http://schemas.microsoft.com/office/drawing/2014/main" id="{4D7ABAD2-6246-A1F3-5E86-044B3D8C3074}"/>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59" name="Rectangle 89">
              <a:extLst>
                <a:ext uri="{FF2B5EF4-FFF2-40B4-BE49-F238E27FC236}">
                  <a16:creationId xmlns:a16="http://schemas.microsoft.com/office/drawing/2014/main" id="{0E6F2315-5317-6C1E-5DF8-4BE9FE7C7CA6}"/>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60" name="Group 59">
            <a:extLst>
              <a:ext uri="{FF2B5EF4-FFF2-40B4-BE49-F238E27FC236}">
                <a16:creationId xmlns:a16="http://schemas.microsoft.com/office/drawing/2014/main" id="{39B13FA4-84C5-6F46-C1BB-22875F9B20B8}"/>
              </a:ext>
              <a:ext uri="{C183D7F6-B498-43B3-948B-1728B52AA6E4}">
                <adec:decorative xmlns:adec="http://schemas.microsoft.com/office/drawing/2017/decorative" val="1"/>
              </a:ext>
            </a:extLst>
          </p:cNvPr>
          <p:cNvGrpSpPr/>
          <p:nvPr userDrawn="1"/>
        </p:nvGrpSpPr>
        <p:grpSpPr>
          <a:xfrm rot="5400000">
            <a:off x="11648565" y="3486389"/>
            <a:ext cx="210652" cy="210652"/>
            <a:chOff x="5214995" y="-1168400"/>
            <a:chExt cx="431800" cy="431800"/>
          </a:xfrm>
        </p:grpSpPr>
        <p:sp>
          <p:nvSpPr>
            <p:cNvPr id="61" name="Oval 60">
              <a:extLst>
                <a:ext uri="{FF2B5EF4-FFF2-40B4-BE49-F238E27FC236}">
                  <a16:creationId xmlns:a16="http://schemas.microsoft.com/office/drawing/2014/main" id="{47D4A430-8084-5075-B04A-2E8CDD118B76}"/>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62" name="Rectangle 89">
              <a:extLst>
                <a:ext uri="{FF2B5EF4-FFF2-40B4-BE49-F238E27FC236}">
                  <a16:creationId xmlns:a16="http://schemas.microsoft.com/office/drawing/2014/main" id="{ABE5358E-92F9-96A5-6FDB-150E91A8AF78}"/>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63" name="Group 62">
            <a:extLst>
              <a:ext uri="{FF2B5EF4-FFF2-40B4-BE49-F238E27FC236}">
                <a16:creationId xmlns:a16="http://schemas.microsoft.com/office/drawing/2014/main" id="{EFFD46EF-67A1-2B45-C906-05C4ACC2DA34}"/>
              </a:ext>
              <a:ext uri="{C183D7F6-B498-43B3-948B-1728B52AA6E4}">
                <adec:decorative xmlns:adec="http://schemas.microsoft.com/office/drawing/2017/decorative" val="1"/>
              </a:ext>
            </a:extLst>
          </p:cNvPr>
          <p:cNvGrpSpPr/>
          <p:nvPr userDrawn="1"/>
        </p:nvGrpSpPr>
        <p:grpSpPr>
          <a:xfrm flipH="1">
            <a:off x="5805591" y="3859456"/>
            <a:ext cx="210652" cy="210652"/>
            <a:chOff x="5214995" y="-1168400"/>
            <a:chExt cx="431800" cy="431800"/>
          </a:xfrm>
        </p:grpSpPr>
        <p:sp>
          <p:nvSpPr>
            <p:cNvPr id="64" name="Oval 63">
              <a:extLst>
                <a:ext uri="{FF2B5EF4-FFF2-40B4-BE49-F238E27FC236}">
                  <a16:creationId xmlns:a16="http://schemas.microsoft.com/office/drawing/2014/main" id="{14ED043E-EA90-195B-771E-CE53479D2BC8}"/>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65" name="Rectangle 89">
              <a:extLst>
                <a:ext uri="{FF2B5EF4-FFF2-40B4-BE49-F238E27FC236}">
                  <a16:creationId xmlns:a16="http://schemas.microsoft.com/office/drawing/2014/main" id="{3853106D-E38A-371E-B378-89F7601572D3}"/>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67" name="Group 66">
            <a:extLst>
              <a:ext uri="{FF2B5EF4-FFF2-40B4-BE49-F238E27FC236}">
                <a16:creationId xmlns:a16="http://schemas.microsoft.com/office/drawing/2014/main" id="{AB2872BD-57A1-5A98-BBEC-120407B2348E}"/>
              </a:ext>
              <a:ext uri="{C183D7F6-B498-43B3-948B-1728B52AA6E4}">
                <adec:decorative xmlns:adec="http://schemas.microsoft.com/office/drawing/2017/decorative" val="1"/>
              </a:ext>
            </a:extLst>
          </p:cNvPr>
          <p:cNvGrpSpPr/>
          <p:nvPr userDrawn="1"/>
        </p:nvGrpSpPr>
        <p:grpSpPr>
          <a:xfrm flipH="1">
            <a:off x="8689384" y="3859456"/>
            <a:ext cx="210652" cy="210652"/>
            <a:chOff x="5214995" y="-1168400"/>
            <a:chExt cx="431800" cy="431800"/>
          </a:xfrm>
        </p:grpSpPr>
        <p:sp>
          <p:nvSpPr>
            <p:cNvPr id="68" name="Oval 67">
              <a:extLst>
                <a:ext uri="{FF2B5EF4-FFF2-40B4-BE49-F238E27FC236}">
                  <a16:creationId xmlns:a16="http://schemas.microsoft.com/office/drawing/2014/main" id="{DC271353-C79B-E3BF-32F5-48C1A526FF02}"/>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69" name="Rectangle 89">
              <a:extLst>
                <a:ext uri="{FF2B5EF4-FFF2-40B4-BE49-F238E27FC236}">
                  <a16:creationId xmlns:a16="http://schemas.microsoft.com/office/drawing/2014/main" id="{B93F1E4A-9BA7-C4D0-83D8-2451A1DEAD80}"/>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11" name="Text Placeholder 11">
            <a:extLst>
              <a:ext uri="{FF2B5EF4-FFF2-40B4-BE49-F238E27FC236}">
                <a16:creationId xmlns:a16="http://schemas.microsoft.com/office/drawing/2014/main" id="{9977582E-F97B-70B5-CB03-F46869F849CD}"/>
              </a:ext>
            </a:extLst>
          </p:cNvPr>
          <p:cNvSpPr>
            <a:spLocks noGrp="1"/>
          </p:cNvSpPr>
          <p:nvPr>
            <p:ph type="body" sz="quarter" idx="69"/>
          </p:nvPr>
        </p:nvSpPr>
        <p:spPr>
          <a:xfrm>
            <a:off x="3182890"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dirty="0"/>
              <a:t>Click to edit Master text styles</a:t>
            </a:r>
          </a:p>
          <a:p>
            <a:pPr lvl="3"/>
            <a:r>
              <a:rPr lang="en-US" dirty="0"/>
              <a:t>Level 2</a:t>
            </a:r>
          </a:p>
        </p:txBody>
      </p:sp>
      <p:sp>
        <p:nvSpPr>
          <p:cNvPr id="81" name="Step 1 Title">
            <a:extLst>
              <a:ext uri="{FF2B5EF4-FFF2-40B4-BE49-F238E27FC236}">
                <a16:creationId xmlns:a16="http://schemas.microsoft.com/office/drawing/2014/main" id="{7E33DF77-DD28-CC24-9FC2-0AD434BCF4C0}"/>
              </a:ext>
            </a:extLst>
          </p:cNvPr>
          <p:cNvSpPr>
            <a:spLocks noGrp="1"/>
          </p:cNvSpPr>
          <p:nvPr>
            <p:ph type="body" sz="quarter" idx="11"/>
          </p:nvPr>
        </p:nvSpPr>
        <p:spPr>
          <a:xfrm>
            <a:off x="3182890"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82" name="Step 1 Top">
            <a:extLst>
              <a:ext uri="{FF2B5EF4-FFF2-40B4-BE49-F238E27FC236}">
                <a16:creationId xmlns:a16="http://schemas.microsoft.com/office/drawing/2014/main" id="{4B00355E-1235-20E9-A051-604C9CFEC8E8}"/>
              </a:ext>
            </a:extLst>
          </p:cNvPr>
          <p:cNvSpPr>
            <a:spLocks noGrp="1"/>
          </p:cNvSpPr>
          <p:nvPr>
            <p:ph type="body" sz="quarter" idx="18"/>
          </p:nvPr>
        </p:nvSpPr>
        <p:spPr>
          <a:xfrm>
            <a:off x="3182890"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90" name="Step 1 Title">
            <a:extLst>
              <a:ext uri="{FF2B5EF4-FFF2-40B4-BE49-F238E27FC236}">
                <a16:creationId xmlns:a16="http://schemas.microsoft.com/office/drawing/2014/main" id="{2F0B0E91-BF30-3362-2F5C-B3C5D2B134A1}"/>
              </a:ext>
            </a:extLst>
          </p:cNvPr>
          <p:cNvSpPr>
            <a:spLocks noGrp="1"/>
          </p:cNvSpPr>
          <p:nvPr>
            <p:ph type="body" sz="quarter" idx="42"/>
          </p:nvPr>
        </p:nvSpPr>
        <p:spPr>
          <a:xfrm>
            <a:off x="6066682"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2"/>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91" name="Step 1 Top">
            <a:extLst>
              <a:ext uri="{FF2B5EF4-FFF2-40B4-BE49-F238E27FC236}">
                <a16:creationId xmlns:a16="http://schemas.microsoft.com/office/drawing/2014/main" id="{4F227FB4-9BBF-2C43-E0ED-95EC51590A0D}"/>
              </a:ext>
            </a:extLst>
          </p:cNvPr>
          <p:cNvSpPr>
            <a:spLocks noGrp="1"/>
          </p:cNvSpPr>
          <p:nvPr>
            <p:ph type="body" sz="quarter" idx="43"/>
          </p:nvPr>
        </p:nvSpPr>
        <p:spPr>
          <a:xfrm>
            <a:off x="6066682"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0" name="Text Placeholder 11">
            <a:extLst>
              <a:ext uri="{FF2B5EF4-FFF2-40B4-BE49-F238E27FC236}">
                <a16:creationId xmlns:a16="http://schemas.microsoft.com/office/drawing/2014/main" id="{933075CE-083E-DACE-75B9-DDCB2E437557}"/>
              </a:ext>
            </a:extLst>
          </p:cNvPr>
          <p:cNvSpPr>
            <a:spLocks noGrp="1"/>
          </p:cNvSpPr>
          <p:nvPr>
            <p:ph type="body" sz="quarter" idx="68"/>
          </p:nvPr>
        </p:nvSpPr>
        <p:spPr>
          <a:xfrm>
            <a:off x="8950475"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93" name="Step 1 Title">
            <a:extLst>
              <a:ext uri="{FF2B5EF4-FFF2-40B4-BE49-F238E27FC236}">
                <a16:creationId xmlns:a16="http://schemas.microsoft.com/office/drawing/2014/main" id="{78B57A65-16AE-5996-C81D-89A1171052DC}"/>
              </a:ext>
            </a:extLst>
          </p:cNvPr>
          <p:cNvSpPr>
            <a:spLocks noGrp="1"/>
          </p:cNvSpPr>
          <p:nvPr>
            <p:ph type="body" sz="quarter" idx="45"/>
          </p:nvPr>
        </p:nvSpPr>
        <p:spPr>
          <a:xfrm>
            <a:off x="8950475"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3"/>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94" name="Step 1 Top">
            <a:extLst>
              <a:ext uri="{FF2B5EF4-FFF2-40B4-BE49-F238E27FC236}">
                <a16:creationId xmlns:a16="http://schemas.microsoft.com/office/drawing/2014/main" id="{6B743263-A0E0-B08F-8640-1A6F2A474017}"/>
              </a:ext>
            </a:extLst>
          </p:cNvPr>
          <p:cNvSpPr>
            <a:spLocks noGrp="1"/>
          </p:cNvSpPr>
          <p:nvPr>
            <p:ph type="body" sz="quarter" idx="46"/>
          </p:nvPr>
        </p:nvSpPr>
        <p:spPr>
          <a:xfrm>
            <a:off x="8950475"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2" name="Text Placeholder 11">
            <a:extLst>
              <a:ext uri="{FF2B5EF4-FFF2-40B4-BE49-F238E27FC236}">
                <a16:creationId xmlns:a16="http://schemas.microsoft.com/office/drawing/2014/main" id="{FE828537-77ED-661B-164D-7972C8F2B3CF}"/>
              </a:ext>
            </a:extLst>
          </p:cNvPr>
          <p:cNvSpPr>
            <a:spLocks noGrp="1"/>
          </p:cNvSpPr>
          <p:nvPr>
            <p:ph type="body" sz="quarter" idx="70"/>
          </p:nvPr>
        </p:nvSpPr>
        <p:spPr>
          <a:xfrm>
            <a:off x="6066682"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dirty="0"/>
              <a:t>Click to edit Master text styles</a:t>
            </a:r>
          </a:p>
          <a:p>
            <a:pPr lvl="3"/>
            <a:r>
              <a:rPr lang="en-US" dirty="0"/>
              <a:t>Level 2</a:t>
            </a:r>
          </a:p>
        </p:txBody>
      </p:sp>
      <p:sp>
        <p:nvSpPr>
          <p:cNvPr id="102" name="Text Placeholder 11">
            <a:extLst>
              <a:ext uri="{FF2B5EF4-FFF2-40B4-BE49-F238E27FC236}">
                <a16:creationId xmlns:a16="http://schemas.microsoft.com/office/drawing/2014/main" id="{B7B6A3B2-F891-96DB-EDD6-15440AF2E8CD}"/>
              </a:ext>
            </a:extLst>
          </p:cNvPr>
          <p:cNvSpPr>
            <a:spLocks noGrp="1"/>
          </p:cNvSpPr>
          <p:nvPr>
            <p:ph type="body" sz="quarter" idx="48"/>
          </p:nvPr>
        </p:nvSpPr>
        <p:spPr>
          <a:xfrm>
            <a:off x="3182890" y="5334522"/>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104" name="Step 1 Title">
            <a:extLst>
              <a:ext uri="{FF2B5EF4-FFF2-40B4-BE49-F238E27FC236}">
                <a16:creationId xmlns:a16="http://schemas.microsoft.com/office/drawing/2014/main" id="{0F93BF10-EBCF-85EF-D1B2-A7563451D76D}"/>
              </a:ext>
            </a:extLst>
          </p:cNvPr>
          <p:cNvSpPr>
            <a:spLocks noGrp="1"/>
          </p:cNvSpPr>
          <p:nvPr>
            <p:ph type="body" sz="quarter" idx="49"/>
          </p:nvPr>
        </p:nvSpPr>
        <p:spPr>
          <a:xfrm>
            <a:off x="3182890" y="3725103"/>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6"/>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05" name="Step 1 Top">
            <a:extLst>
              <a:ext uri="{FF2B5EF4-FFF2-40B4-BE49-F238E27FC236}">
                <a16:creationId xmlns:a16="http://schemas.microsoft.com/office/drawing/2014/main" id="{C1C2FA4E-D061-ECCE-C8BB-24C647D60102}"/>
              </a:ext>
            </a:extLst>
          </p:cNvPr>
          <p:cNvSpPr>
            <a:spLocks noGrp="1"/>
          </p:cNvSpPr>
          <p:nvPr>
            <p:ph type="body" sz="quarter" idx="50"/>
          </p:nvPr>
        </p:nvSpPr>
        <p:spPr>
          <a:xfrm>
            <a:off x="3182890" y="4050957"/>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19" name="Step 1 Title">
            <a:extLst>
              <a:ext uri="{FF2B5EF4-FFF2-40B4-BE49-F238E27FC236}">
                <a16:creationId xmlns:a16="http://schemas.microsoft.com/office/drawing/2014/main" id="{9CB910C7-53F5-CD35-F7B3-ED8F5DD4F6A1}"/>
              </a:ext>
            </a:extLst>
          </p:cNvPr>
          <p:cNvSpPr>
            <a:spLocks noGrp="1"/>
          </p:cNvSpPr>
          <p:nvPr>
            <p:ph type="body" sz="quarter" idx="51"/>
          </p:nvPr>
        </p:nvSpPr>
        <p:spPr>
          <a:xfrm>
            <a:off x="6066682" y="3725103"/>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5"/>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20" name="Step 1 Top">
            <a:extLst>
              <a:ext uri="{FF2B5EF4-FFF2-40B4-BE49-F238E27FC236}">
                <a16:creationId xmlns:a16="http://schemas.microsoft.com/office/drawing/2014/main" id="{E81FD2D6-1B95-AE76-667E-A7ADD3CD3A50}"/>
              </a:ext>
            </a:extLst>
          </p:cNvPr>
          <p:cNvSpPr>
            <a:spLocks noGrp="1"/>
          </p:cNvSpPr>
          <p:nvPr>
            <p:ph type="body" sz="quarter" idx="52"/>
          </p:nvPr>
        </p:nvSpPr>
        <p:spPr>
          <a:xfrm>
            <a:off x="6066682" y="4050957"/>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8" name="Text Placeholder 11">
            <a:extLst>
              <a:ext uri="{FF2B5EF4-FFF2-40B4-BE49-F238E27FC236}">
                <a16:creationId xmlns:a16="http://schemas.microsoft.com/office/drawing/2014/main" id="{19D255C6-A463-0E1B-EFD1-0675518123ED}"/>
              </a:ext>
            </a:extLst>
          </p:cNvPr>
          <p:cNvSpPr>
            <a:spLocks noGrp="1"/>
          </p:cNvSpPr>
          <p:nvPr>
            <p:ph type="body" sz="quarter" idx="66"/>
          </p:nvPr>
        </p:nvSpPr>
        <p:spPr>
          <a:xfrm>
            <a:off x="8950475" y="5334522"/>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122" name="Step 1 Title">
            <a:extLst>
              <a:ext uri="{FF2B5EF4-FFF2-40B4-BE49-F238E27FC236}">
                <a16:creationId xmlns:a16="http://schemas.microsoft.com/office/drawing/2014/main" id="{A1FCE115-20B6-1C4D-4833-053AE41AEBD7}"/>
              </a:ext>
            </a:extLst>
          </p:cNvPr>
          <p:cNvSpPr>
            <a:spLocks noGrp="1"/>
          </p:cNvSpPr>
          <p:nvPr>
            <p:ph type="body" sz="quarter" idx="54"/>
          </p:nvPr>
        </p:nvSpPr>
        <p:spPr>
          <a:xfrm>
            <a:off x="8950475" y="3725103"/>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4"/>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23" name="Step 1 Top">
            <a:extLst>
              <a:ext uri="{FF2B5EF4-FFF2-40B4-BE49-F238E27FC236}">
                <a16:creationId xmlns:a16="http://schemas.microsoft.com/office/drawing/2014/main" id="{3D5F63B4-9275-D6B7-3A0E-699C0C868EA5}"/>
              </a:ext>
            </a:extLst>
          </p:cNvPr>
          <p:cNvSpPr>
            <a:spLocks noGrp="1"/>
          </p:cNvSpPr>
          <p:nvPr>
            <p:ph type="body" sz="quarter" idx="55"/>
          </p:nvPr>
        </p:nvSpPr>
        <p:spPr>
          <a:xfrm>
            <a:off x="8950475" y="4050957"/>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9" name="Text Placeholder 11">
            <a:extLst>
              <a:ext uri="{FF2B5EF4-FFF2-40B4-BE49-F238E27FC236}">
                <a16:creationId xmlns:a16="http://schemas.microsoft.com/office/drawing/2014/main" id="{9AEFB6C2-AB19-3A46-843C-CF95D15344CB}"/>
              </a:ext>
            </a:extLst>
          </p:cNvPr>
          <p:cNvSpPr>
            <a:spLocks noGrp="1"/>
          </p:cNvSpPr>
          <p:nvPr>
            <p:ph type="body" sz="quarter" idx="67"/>
          </p:nvPr>
        </p:nvSpPr>
        <p:spPr>
          <a:xfrm>
            <a:off x="6066682" y="5334522"/>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7" name="Footnote">
            <a:extLst>
              <a:ext uri="{FF2B5EF4-FFF2-40B4-BE49-F238E27FC236}">
                <a16:creationId xmlns:a16="http://schemas.microsoft.com/office/drawing/2014/main" id="{AC05EA29-0447-0506-FB1B-E11117B0DF2E}"/>
              </a:ext>
            </a:extLst>
          </p:cNvPr>
          <p:cNvSpPr txBox="1">
            <a:spLocks/>
          </p:cNvSpPr>
          <p:nvPr userDrawn="1"/>
        </p:nvSpPr>
        <p:spPr>
          <a:xfrm>
            <a:off x="320040" y="6309360"/>
            <a:ext cx="9597418"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7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1</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or the Microsoft 365 Copilot Chat mobile app and set toggle to “Web”.</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2</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the Microsoft 365 Copilot Chat mobile app, or the M365 Copilot Chat app in Teams, and set toggle to “Work”.</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a:ln>
                  <a:noFill/>
                </a:ln>
                <a:solidFill>
                  <a:srgbClr val="000000"/>
                </a:solidFill>
                <a:effectLst/>
                <a:uLnTx/>
                <a:uFillTx/>
                <a:latin typeface="Segoe UI"/>
                <a:ea typeface="+mn-ea"/>
                <a:cs typeface="Segoe UI" panose="020B0502040204020203" pitchFamily="34" charset="0"/>
              </a:rPr>
              <a:t>3</a:t>
            </a: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pilot agents allow Copilot to access your organization-specific apps. In the past this would have required an API call to get data from a system of record.</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he content in this example scenario is for demonstration purposes only. You should evaluate how Copilot aligns with your organization’s business processes, regulatory requirements, and responsible AI principles.5</a:t>
            </a:r>
          </a:p>
        </p:txBody>
      </p:sp>
      <p:sp>
        <p:nvSpPr>
          <p:cNvPr id="2" name="Text Placeholder 8">
            <a:extLst>
              <a:ext uri="{FF2B5EF4-FFF2-40B4-BE49-F238E27FC236}">
                <a16:creationId xmlns:a16="http://schemas.microsoft.com/office/drawing/2014/main" id="{A1FD8182-9192-3293-3C25-613D50894B80}"/>
              </a:ext>
            </a:extLst>
          </p:cNvPr>
          <p:cNvSpPr>
            <a:spLocks noGrp="1"/>
          </p:cNvSpPr>
          <p:nvPr>
            <p:ph type="body" sz="quarter" idx="64"/>
          </p:nvPr>
        </p:nvSpPr>
        <p:spPr>
          <a:xfrm>
            <a:off x="320721" y="4709762"/>
            <a:ext cx="1131651" cy="219456"/>
          </a:xfrm>
          <a:prstGeom prst="roundRect">
            <a:avLst>
              <a:gd name="adj" fmla="val 50000"/>
            </a:avLst>
          </a:prstGeom>
          <a:solidFill>
            <a:srgbClr val="C03BC4"/>
          </a:solidFill>
          <a:ln w="12700">
            <a:solidFill>
              <a:srgbClr val="C03BC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
        <p:nvSpPr>
          <p:cNvPr id="3" name="Text Placeholder 8">
            <a:extLst>
              <a:ext uri="{FF2B5EF4-FFF2-40B4-BE49-F238E27FC236}">
                <a16:creationId xmlns:a16="http://schemas.microsoft.com/office/drawing/2014/main" id="{DD81CAF3-1B44-C8D0-3BB0-F3DD087633FA}"/>
              </a:ext>
            </a:extLst>
          </p:cNvPr>
          <p:cNvSpPr>
            <a:spLocks noGrp="1"/>
          </p:cNvSpPr>
          <p:nvPr>
            <p:ph type="body" sz="quarter" idx="65"/>
          </p:nvPr>
        </p:nvSpPr>
        <p:spPr>
          <a:xfrm>
            <a:off x="320721" y="3467940"/>
            <a:ext cx="1131650" cy="219456"/>
          </a:xfrm>
          <a:prstGeom prst="roundRect">
            <a:avLst>
              <a:gd name="adj" fmla="val 50000"/>
            </a:avLst>
          </a:prstGeom>
          <a:solidFill>
            <a:srgbClr val="0078D4"/>
          </a:solidFill>
          <a:ln w="12700">
            <a:solidFill>
              <a:srgbClr val="0078D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Tree>
    <p:extLst>
      <p:ext uri="{BB962C8B-B14F-4D97-AF65-F5344CB8AC3E}">
        <p14:creationId xmlns:p14="http://schemas.microsoft.com/office/powerpoint/2010/main" val="32458303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68">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36">
          <p15:clr>
            <a:srgbClr val="A4A3A4"/>
          </p15:clr>
        </p15:guide>
        <p15:guide id="14" pos="3168">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ay in the life six step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hasCustomPrompt="1"/>
          </p:nvPr>
        </p:nvSpPr>
        <p:spPr>
          <a:xfrm>
            <a:off x="584200" y="387766"/>
            <a:ext cx="5672544" cy="526298"/>
          </a:xfrm>
        </p:spPr>
        <p:txBody>
          <a:bodyPr tIns="0"/>
          <a:lstStyle>
            <a:lvl1pPr>
              <a:lnSpc>
                <a:spcPct val="95000"/>
              </a:lnSpc>
              <a:defRPr sz="1800" spc="0">
                <a:latin typeface="+mj-lt"/>
                <a:cs typeface="Segoe UI" panose="020B0502040204020203" pitchFamily="34" charset="0"/>
              </a:defRPr>
            </a:lvl1pPr>
          </a:lstStyle>
          <a:p>
            <a:r>
              <a:rPr lang="en-US"/>
              <a:t>Click to edit Master title style; can be up to two lines long; lorem ipsum dolor sit </a:t>
            </a:r>
            <a:r>
              <a:rPr lang="en-US" err="1"/>
              <a:t>amet</a:t>
            </a:r>
            <a:r>
              <a:rPr lang="en-US"/>
              <a:t> </a:t>
            </a:r>
            <a:r>
              <a:rPr lang="en-US" err="1"/>
              <a:t>consectetur</a:t>
            </a:r>
            <a:endParaRPr lang="en-US"/>
          </a:p>
        </p:txBody>
      </p:sp>
      <p:sp>
        <p:nvSpPr>
          <p:cNvPr id="75" name="Scenario Level">
            <a:extLst>
              <a:ext uri="{FF2B5EF4-FFF2-40B4-BE49-F238E27FC236}">
                <a16:creationId xmlns:a16="http://schemas.microsoft.com/office/drawing/2014/main" id="{1BB75DAB-4D8A-2933-BB52-0C94AA4816E3}"/>
              </a:ext>
            </a:extLst>
          </p:cNvPr>
          <p:cNvSpPr txBox="1"/>
          <p:nvPr userDrawn="1"/>
        </p:nvSpPr>
        <p:spPr>
          <a:xfrm>
            <a:off x="10955436" y="351933"/>
            <a:ext cx="931764"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Scenario level:</a:t>
            </a:r>
          </a:p>
        </p:txBody>
      </p:sp>
      <p:sp>
        <p:nvSpPr>
          <p:cNvPr id="3" name="Level">
            <a:extLst>
              <a:ext uri="{FF2B5EF4-FFF2-40B4-BE49-F238E27FC236}">
                <a16:creationId xmlns:a16="http://schemas.microsoft.com/office/drawing/2014/main" id="{78D71A05-3479-3DEB-1227-2FC98983A80C}"/>
              </a:ext>
            </a:extLst>
          </p:cNvPr>
          <p:cNvSpPr>
            <a:spLocks noGrp="1"/>
          </p:cNvSpPr>
          <p:nvPr>
            <p:ph type="body" sz="quarter" idx="37" hasCustomPrompt="1"/>
          </p:nvPr>
        </p:nvSpPr>
        <p:spPr>
          <a:xfrm>
            <a:off x="10430234" y="521099"/>
            <a:ext cx="1456966" cy="175614"/>
          </a:xfrm>
        </p:spPr>
        <p:txBody>
          <a:bodyPr/>
          <a:lstStyle>
            <a:lvl1pPr marL="0" indent="0" algn="r">
              <a:spcBef>
                <a:spcPts val="0"/>
              </a:spcBef>
              <a:buNone/>
              <a:defRPr sz="1100" b="1" i="0" spc="-20" baseline="0">
                <a:solidFill>
                  <a:srgbClr val="0078D4"/>
                </a:solidFill>
                <a:latin typeface="Segoe UI Semibold" panose="020B0502040204020203" pitchFamily="34" charset="0"/>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Buy</a:t>
            </a:r>
          </a:p>
        </p:txBody>
      </p:sp>
      <p:sp>
        <p:nvSpPr>
          <p:cNvPr id="84" name="Available With">
            <a:extLst>
              <a:ext uri="{FF2B5EF4-FFF2-40B4-BE49-F238E27FC236}">
                <a16:creationId xmlns:a16="http://schemas.microsoft.com/office/drawing/2014/main" id="{8D8427AA-F015-D373-46E2-2EB1053D80CE}"/>
              </a:ext>
            </a:extLst>
          </p:cNvPr>
          <p:cNvSpPr txBox="1"/>
          <p:nvPr userDrawn="1"/>
        </p:nvSpPr>
        <p:spPr>
          <a:xfrm>
            <a:off x="9187165" y="351933"/>
            <a:ext cx="931764"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Available with:</a:t>
            </a:r>
          </a:p>
        </p:txBody>
      </p:sp>
      <p:cxnSp>
        <p:nvCxnSpPr>
          <p:cNvPr id="86" name="Straight Connector 85">
            <a:extLst>
              <a:ext uri="{FF2B5EF4-FFF2-40B4-BE49-F238E27FC236}">
                <a16:creationId xmlns:a16="http://schemas.microsoft.com/office/drawing/2014/main" id="{4216CED8-8F45-B380-FB1B-B9408979340F}"/>
              </a:ext>
            </a:extLst>
          </p:cNvPr>
          <p:cNvCxnSpPr/>
          <p:nvPr userDrawn="1"/>
        </p:nvCxnSpPr>
        <p:spPr>
          <a:xfrm>
            <a:off x="10357672"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3" name="License">
            <a:extLst>
              <a:ext uri="{FF2B5EF4-FFF2-40B4-BE49-F238E27FC236}">
                <a16:creationId xmlns:a16="http://schemas.microsoft.com/office/drawing/2014/main" id="{6B562108-00FE-5F42-7550-13BB7DE58EA1}"/>
              </a:ext>
            </a:extLst>
          </p:cNvPr>
          <p:cNvSpPr>
            <a:spLocks noGrp="1"/>
          </p:cNvSpPr>
          <p:nvPr>
            <p:ph type="body" sz="quarter" idx="17" hasCustomPrompt="1"/>
          </p:nvPr>
        </p:nvSpPr>
        <p:spPr>
          <a:xfrm>
            <a:off x="6519107" y="521099"/>
            <a:ext cx="3599821" cy="169277"/>
          </a:xfrm>
        </p:spPr>
        <p:txBody>
          <a:bodyPr/>
          <a:lstStyle>
            <a:lvl1pPr marL="0" indent="0" algn="r">
              <a:spcBef>
                <a:spcPts val="0"/>
              </a:spcBef>
              <a:buNone/>
              <a:defRPr sz="1100" b="1" i="0" spc="-20" baseline="0">
                <a:solidFill>
                  <a:srgbClr val="C03BC4"/>
                </a:solidFill>
                <a:latin typeface="Segoe UI Semibold" panose="020B0502040204020203" pitchFamily="34" charset="0"/>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Microsoft 365 Copilot</a:t>
            </a:r>
          </a:p>
        </p:txBody>
      </p:sp>
      <p:sp>
        <p:nvSpPr>
          <p:cNvPr id="119" name="Freeform: Shape 2">
            <a:extLst>
              <a:ext uri="{FF2B5EF4-FFF2-40B4-BE49-F238E27FC236}">
                <a16:creationId xmlns:a16="http://schemas.microsoft.com/office/drawing/2014/main" id="{DFCC0CE5-9BBF-33A2-43D3-995556541219}"/>
              </a:ext>
              <a:ext uri="{C183D7F6-B498-43B3-948B-1728B52AA6E4}">
                <adec:decorative xmlns:adec="http://schemas.microsoft.com/office/drawing/2017/decorative" val="1"/>
              </a:ext>
            </a:extLst>
          </p:cNvPr>
          <p:cNvSpPr/>
          <p:nvPr userDrawn="1"/>
        </p:nvSpPr>
        <p:spPr bwMode="auto">
          <a:xfrm>
            <a:off x="-1" y="1857513"/>
            <a:ext cx="10010265" cy="2453282"/>
          </a:xfrm>
          <a:custGeom>
            <a:avLst/>
            <a:gdLst>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 name="connsiteX0" fmla="*/ 25400 w 9096375"/>
              <a:gd name="connsiteY0" fmla="*/ 0 h 2491048"/>
              <a:gd name="connsiteX1" fmla="*/ 8875992 w 9096375"/>
              <a:gd name="connsiteY1" fmla="*/ 0 h 2491048"/>
              <a:gd name="connsiteX2" fmla="*/ 9096375 w 9096375"/>
              <a:gd name="connsiteY2" fmla="*/ 220383 h 2491048"/>
              <a:gd name="connsiteX3" fmla="*/ 9096375 w 9096375"/>
              <a:gd name="connsiteY3" fmla="*/ 2270665 h 2491048"/>
              <a:gd name="connsiteX4" fmla="*/ 8875992 w 9096375"/>
              <a:gd name="connsiteY4" fmla="*/ 2491048 h 2491048"/>
              <a:gd name="connsiteX5" fmla="*/ 25400 w 9096375"/>
              <a:gd name="connsiteY5" fmla="*/ 2491048 h 2491048"/>
              <a:gd name="connsiteX6" fmla="*/ 0 w 9096375"/>
              <a:gd name="connsiteY6" fmla="*/ 1182948 h 2491048"/>
              <a:gd name="connsiteX7" fmla="*/ 25400 w 9096375"/>
              <a:gd name="connsiteY7" fmla="*/ 0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7" fmla="*/ 91440 w 9096375"/>
              <a:gd name="connsiteY7" fmla="*/ 1274388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0975" h="2491048">
                <a:moveTo>
                  <a:pt x="0" y="0"/>
                </a:moveTo>
                <a:lnTo>
                  <a:pt x="8850592" y="0"/>
                </a:lnTo>
                <a:cubicBezTo>
                  <a:pt x="8972306" y="0"/>
                  <a:pt x="9070975" y="98669"/>
                  <a:pt x="9070975" y="220383"/>
                </a:cubicBezTo>
                <a:lnTo>
                  <a:pt x="9070975" y="2270665"/>
                </a:lnTo>
                <a:cubicBezTo>
                  <a:pt x="9070975" y="2392379"/>
                  <a:pt x="8972306" y="2491048"/>
                  <a:pt x="8850592" y="2491048"/>
                </a:cubicBezTo>
                <a:lnTo>
                  <a:pt x="0" y="2491048"/>
                </a:lnTo>
              </a:path>
            </a:pathLst>
          </a:custGeom>
          <a:ln w="15875" cap="flat">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147" name="Group 146">
            <a:extLst>
              <a:ext uri="{FF2B5EF4-FFF2-40B4-BE49-F238E27FC236}">
                <a16:creationId xmlns:a16="http://schemas.microsoft.com/office/drawing/2014/main" id="{F3E1CBA9-BB11-EF2E-649E-27B49E82FE86}"/>
              </a:ext>
            </a:extLst>
          </p:cNvPr>
          <p:cNvGrpSpPr/>
          <p:nvPr userDrawn="1"/>
        </p:nvGrpSpPr>
        <p:grpSpPr>
          <a:xfrm>
            <a:off x="3476832" y="1793093"/>
            <a:ext cx="166152" cy="166152"/>
            <a:chOff x="5214995" y="-1168400"/>
            <a:chExt cx="431800" cy="431800"/>
          </a:xfrm>
        </p:grpSpPr>
        <p:sp>
          <p:nvSpPr>
            <p:cNvPr id="148" name="Oval 147">
              <a:extLst>
                <a:ext uri="{FF2B5EF4-FFF2-40B4-BE49-F238E27FC236}">
                  <a16:creationId xmlns:a16="http://schemas.microsoft.com/office/drawing/2014/main" id="{E54C8AC7-0DF2-A7B4-59BC-354BDE9A823D}"/>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49" name="Rectangle 89">
              <a:extLst>
                <a:ext uri="{FF2B5EF4-FFF2-40B4-BE49-F238E27FC236}">
                  <a16:creationId xmlns:a16="http://schemas.microsoft.com/office/drawing/2014/main" id="{F0376496-3125-ED18-7608-C142A0C35F33}"/>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0" name="Group 149">
            <a:extLst>
              <a:ext uri="{FF2B5EF4-FFF2-40B4-BE49-F238E27FC236}">
                <a16:creationId xmlns:a16="http://schemas.microsoft.com/office/drawing/2014/main" id="{3D3E10AB-B82F-F7E8-A33D-8AF61C784420}"/>
              </a:ext>
            </a:extLst>
          </p:cNvPr>
          <p:cNvGrpSpPr/>
          <p:nvPr userDrawn="1"/>
        </p:nvGrpSpPr>
        <p:grpSpPr>
          <a:xfrm>
            <a:off x="6669529" y="1793093"/>
            <a:ext cx="166152" cy="166152"/>
            <a:chOff x="5214995" y="-1168400"/>
            <a:chExt cx="431800" cy="431800"/>
          </a:xfrm>
        </p:grpSpPr>
        <p:sp>
          <p:nvSpPr>
            <p:cNvPr id="151" name="Oval 150">
              <a:extLst>
                <a:ext uri="{FF2B5EF4-FFF2-40B4-BE49-F238E27FC236}">
                  <a16:creationId xmlns:a16="http://schemas.microsoft.com/office/drawing/2014/main" id="{CC526CF7-4F8D-6DB9-E3E9-2381E7AFAF4A}"/>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2" name="Rectangle 89">
              <a:extLst>
                <a:ext uri="{FF2B5EF4-FFF2-40B4-BE49-F238E27FC236}">
                  <a16:creationId xmlns:a16="http://schemas.microsoft.com/office/drawing/2014/main" id="{63E3BD4D-8045-49DC-2041-46643AE5ED02}"/>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3" name="Group 152">
            <a:extLst>
              <a:ext uri="{FF2B5EF4-FFF2-40B4-BE49-F238E27FC236}">
                <a16:creationId xmlns:a16="http://schemas.microsoft.com/office/drawing/2014/main" id="{816F1C59-4D7D-3BDD-0560-654E11A9B15E}"/>
              </a:ext>
            </a:extLst>
          </p:cNvPr>
          <p:cNvGrpSpPr/>
          <p:nvPr userDrawn="1"/>
        </p:nvGrpSpPr>
        <p:grpSpPr>
          <a:xfrm flipH="1">
            <a:off x="3476832" y="4248344"/>
            <a:ext cx="166152" cy="166152"/>
            <a:chOff x="5214995" y="-1168400"/>
            <a:chExt cx="431800" cy="431800"/>
          </a:xfrm>
        </p:grpSpPr>
        <p:sp>
          <p:nvSpPr>
            <p:cNvPr id="154" name="Oval 153">
              <a:extLst>
                <a:ext uri="{FF2B5EF4-FFF2-40B4-BE49-F238E27FC236}">
                  <a16:creationId xmlns:a16="http://schemas.microsoft.com/office/drawing/2014/main" id="{A0C410FC-F149-F1FA-B620-BF7F0EDE7D6C}"/>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5" name="Rectangle 89">
              <a:extLst>
                <a:ext uri="{FF2B5EF4-FFF2-40B4-BE49-F238E27FC236}">
                  <a16:creationId xmlns:a16="http://schemas.microsoft.com/office/drawing/2014/main" id="{5B5C9B65-59ED-2529-1E53-C9ABE9CB79FD}"/>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6" name="Group 155">
            <a:extLst>
              <a:ext uri="{FF2B5EF4-FFF2-40B4-BE49-F238E27FC236}">
                <a16:creationId xmlns:a16="http://schemas.microsoft.com/office/drawing/2014/main" id="{28DAF83D-E0BD-BE8E-ECEC-5E5EDE3E6C74}"/>
              </a:ext>
            </a:extLst>
          </p:cNvPr>
          <p:cNvGrpSpPr/>
          <p:nvPr userDrawn="1"/>
        </p:nvGrpSpPr>
        <p:grpSpPr>
          <a:xfrm flipH="1">
            <a:off x="6669529" y="4248344"/>
            <a:ext cx="166152" cy="166152"/>
            <a:chOff x="5214995" y="-1168400"/>
            <a:chExt cx="431800" cy="431800"/>
          </a:xfrm>
        </p:grpSpPr>
        <p:sp>
          <p:nvSpPr>
            <p:cNvPr id="157" name="Oval 156">
              <a:extLst>
                <a:ext uri="{FF2B5EF4-FFF2-40B4-BE49-F238E27FC236}">
                  <a16:creationId xmlns:a16="http://schemas.microsoft.com/office/drawing/2014/main" id="{2CC39567-C008-3C38-03DA-28EE0BE74832}"/>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8" name="Rectangle 89">
              <a:extLst>
                <a:ext uri="{FF2B5EF4-FFF2-40B4-BE49-F238E27FC236}">
                  <a16:creationId xmlns:a16="http://schemas.microsoft.com/office/drawing/2014/main" id="{99B2574B-7594-72E2-E826-4D4DA471A11A}"/>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77" name="Group 176">
            <a:extLst>
              <a:ext uri="{FF2B5EF4-FFF2-40B4-BE49-F238E27FC236}">
                <a16:creationId xmlns:a16="http://schemas.microsoft.com/office/drawing/2014/main" id="{E60DF7C5-E7F6-A90D-706C-6592ECDDB338}"/>
              </a:ext>
            </a:extLst>
          </p:cNvPr>
          <p:cNvGrpSpPr/>
          <p:nvPr userDrawn="1"/>
        </p:nvGrpSpPr>
        <p:grpSpPr>
          <a:xfrm rot="5400000">
            <a:off x="9928103" y="2233511"/>
            <a:ext cx="166152" cy="166152"/>
            <a:chOff x="5214995" y="-1168400"/>
            <a:chExt cx="431800" cy="431800"/>
          </a:xfrm>
        </p:grpSpPr>
        <p:sp>
          <p:nvSpPr>
            <p:cNvPr id="178" name="Oval 177">
              <a:extLst>
                <a:ext uri="{FF2B5EF4-FFF2-40B4-BE49-F238E27FC236}">
                  <a16:creationId xmlns:a16="http://schemas.microsoft.com/office/drawing/2014/main" id="{11A9EA57-349E-6453-094C-DB252913E583}"/>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79" name="Rectangle 89">
              <a:extLst>
                <a:ext uri="{FF2B5EF4-FFF2-40B4-BE49-F238E27FC236}">
                  <a16:creationId xmlns:a16="http://schemas.microsoft.com/office/drawing/2014/main" id="{217C0C60-8F15-8390-C6A7-0DB9E99CA653}"/>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80" name="Group 179">
            <a:extLst>
              <a:ext uri="{FF2B5EF4-FFF2-40B4-BE49-F238E27FC236}">
                <a16:creationId xmlns:a16="http://schemas.microsoft.com/office/drawing/2014/main" id="{3B572509-4831-8A48-B663-AE17D9FD8ED5}"/>
              </a:ext>
            </a:extLst>
          </p:cNvPr>
          <p:cNvGrpSpPr/>
          <p:nvPr userDrawn="1"/>
        </p:nvGrpSpPr>
        <p:grpSpPr>
          <a:xfrm rot="5400000">
            <a:off x="9928103" y="3954518"/>
            <a:ext cx="166152" cy="166152"/>
            <a:chOff x="5214995" y="-1168400"/>
            <a:chExt cx="431800" cy="431800"/>
          </a:xfrm>
        </p:grpSpPr>
        <p:sp>
          <p:nvSpPr>
            <p:cNvPr id="181" name="Oval 180">
              <a:extLst>
                <a:ext uri="{FF2B5EF4-FFF2-40B4-BE49-F238E27FC236}">
                  <a16:creationId xmlns:a16="http://schemas.microsoft.com/office/drawing/2014/main" id="{068A591D-A59C-D3D7-2C67-293B3727D0A2}"/>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82" name="Rectangle 89">
              <a:extLst>
                <a:ext uri="{FF2B5EF4-FFF2-40B4-BE49-F238E27FC236}">
                  <a16:creationId xmlns:a16="http://schemas.microsoft.com/office/drawing/2014/main" id="{8B0AF6B1-C3AC-C476-AE16-287C61A1D75A}"/>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95" name="Step 1 TItle">
            <a:extLst>
              <a:ext uri="{FF2B5EF4-FFF2-40B4-BE49-F238E27FC236}">
                <a16:creationId xmlns:a16="http://schemas.microsoft.com/office/drawing/2014/main" id="{545F2FD2-44C5-DA9F-8E2B-13D6C03793D7}"/>
              </a:ext>
            </a:extLst>
          </p:cNvPr>
          <p:cNvSpPr>
            <a:spLocks noGrp="1"/>
          </p:cNvSpPr>
          <p:nvPr>
            <p:ph type="body" sz="quarter" idx="11" hasCustomPrompt="1"/>
          </p:nvPr>
        </p:nvSpPr>
        <p:spPr>
          <a:xfrm>
            <a:off x="584200" y="169013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06" name="Step 1 Top">
            <a:extLst>
              <a:ext uri="{FF2B5EF4-FFF2-40B4-BE49-F238E27FC236}">
                <a16:creationId xmlns:a16="http://schemas.microsoft.com/office/drawing/2014/main" id="{433B73A7-DB5C-AF5A-B12A-70E655D0C55D}"/>
              </a:ext>
            </a:extLst>
          </p:cNvPr>
          <p:cNvSpPr>
            <a:spLocks noGrp="1"/>
          </p:cNvSpPr>
          <p:nvPr>
            <p:ph type="body" sz="quarter" idx="18"/>
          </p:nvPr>
        </p:nvSpPr>
        <p:spPr>
          <a:xfrm>
            <a:off x="584200" y="2128438"/>
            <a:ext cx="2808000" cy="626701"/>
          </a:xfrm>
        </p:spPr>
        <p:txBody>
          <a:bodyPr lIns="0" tIns="0" rIns="0" bIns="0">
            <a:normAutofit/>
          </a:bodyPr>
          <a:lstStyle>
            <a:lvl1pPr marL="0" indent="0">
              <a:lnSpc>
                <a:spcPct val="100000"/>
              </a:lnSpc>
              <a:spcBef>
                <a:spcPts val="0"/>
              </a:spcBef>
              <a:buNone/>
              <a:defRPr sz="900"/>
            </a:lvl1pPr>
          </a:lstStyle>
          <a:p>
            <a:pPr lvl="0"/>
            <a:r>
              <a:rPr lang="en-US" dirty="0"/>
              <a:t>Click to edit Master text styles</a:t>
            </a:r>
          </a:p>
        </p:txBody>
      </p:sp>
      <p:sp>
        <p:nvSpPr>
          <p:cNvPr id="109" name="Step 1 Bottom">
            <a:extLst>
              <a:ext uri="{FF2B5EF4-FFF2-40B4-BE49-F238E27FC236}">
                <a16:creationId xmlns:a16="http://schemas.microsoft.com/office/drawing/2014/main" id="{C966B391-3BF4-A5FB-4F8A-8B4B54689661}"/>
              </a:ext>
            </a:extLst>
          </p:cNvPr>
          <p:cNvSpPr>
            <a:spLocks noGrp="1"/>
          </p:cNvSpPr>
          <p:nvPr>
            <p:ph type="body" sz="quarter" idx="21"/>
          </p:nvPr>
        </p:nvSpPr>
        <p:spPr>
          <a:xfrm>
            <a:off x="584199" y="3304510"/>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183" name="Step 2 Title">
            <a:extLst>
              <a:ext uri="{FF2B5EF4-FFF2-40B4-BE49-F238E27FC236}">
                <a16:creationId xmlns:a16="http://schemas.microsoft.com/office/drawing/2014/main" id="{DF1E6E41-3DB3-84EB-984F-CCB9167D5657}"/>
              </a:ext>
            </a:extLst>
          </p:cNvPr>
          <p:cNvSpPr>
            <a:spLocks noGrp="1"/>
          </p:cNvSpPr>
          <p:nvPr>
            <p:ph type="body" sz="quarter" idx="22" hasCustomPrompt="1"/>
          </p:nvPr>
        </p:nvSpPr>
        <p:spPr>
          <a:xfrm>
            <a:off x="3776898" y="169013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84" name="Step 2 Top">
            <a:extLst>
              <a:ext uri="{FF2B5EF4-FFF2-40B4-BE49-F238E27FC236}">
                <a16:creationId xmlns:a16="http://schemas.microsoft.com/office/drawing/2014/main" id="{6E6ACE10-8248-C360-0E35-7598E8EC8281}"/>
              </a:ext>
            </a:extLst>
          </p:cNvPr>
          <p:cNvSpPr>
            <a:spLocks noGrp="1"/>
          </p:cNvSpPr>
          <p:nvPr>
            <p:ph type="body" sz="quarter" idx="23"/>
          </p:nvPr>
        </p:nvSpPr>
        <p:spPr>
          <a:xfrm>
            <a:off x="3776898" y="2128438"/>
            <a:ext cx="2808000" cy="626701"/>
          </a:xfrm>
        </p:spPr>
        <p:txBody>
          <a:bodyPr lIns="0" tIns="0" rIns="0" bIns="0">
            <a:normAutofit/>
          </a:bodyPr>
          <a:lstStyle>
            <a:lvl1pPr marL="0" indent="0">
              <a:lnSpc>
                <a:spcPct val="100000"/>
              </a:lnSpc>
              <a:spcBef>
                <a:spcPts val="0"/>
              </a:spcBef>
              <a:buNone/>
              <a:defRPr sz="900"/>
            </a:lvl1pPr>
          </a:lstStyle>
          <a:p>
            <a:pPr lvl="0"/>
            <a:r>
              <a:rPr lang="en-US"/>
              <a:t>Click to edit Master text styles</a:t>
            </a:r>
          </a:p>
        </p:txBody>
      </p:sp>
      <p:sp>
        <p:nvSpPr>
          <p:cNvPr id="185" name="Step 2 Bottom">
            <a:extLst>
              <a:ext uri="{FF2B5EF4-FFF2-40B4-BE49-F238E27FC236}">
                <a16:creationId xmlns:a16="http://schemas.microsoft.com/office/drawing/2014/main" id="{55D154DF-71A5-D9D3-0756-AA7208899CFD}"/>
              </a:ext>
            </a:extLst>
          </p:cNvPr>
          <p:cNvSpPr>
            <a:spLocks noGrp="1"/>
          </p:cNvSpPr>
          <p:nvPr>
            <p:ph type="body" sz="quarter" idx="24"/>
          </p:nvPr>
        </p:nvSpPr>
        <p:spPr>
          <a:xfrm>
            <a:off x="3776897" y="3304510"/>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186" name="Step 3 Title">
            <a:extLst>
              <a:ext uri="{FF2B5EF4-FFF2-40B4-BE49-F238E27FC236}">
                <a16:creationId xmlns:a16="http://schemas.microsoft.com/office/drawing/2014/main" id="{3BF3353A-2534-A54C-BD30-4DA6ABBA06BA}"/>
              </a:ext>
            </a:extLst>
          </p:cNvPr>
          <p:cNvSpPr>
            <a:spLocks noGrp="1"/>
          </p:cNvSpPr>
          <p:nvPr>
            <p:ph type="body" sz="quarter" idx="25" hasCustomPrompt="1"/>
          </p:nvPr>
        </p:nvSpPr>
        <p:spPr>
          <a:xfrm>
            <a:off x="6969595" y="169013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87" name="Step 3 Top">
            <a:extLst>
              <a:ext uri="{FF2B5EF4-FFF2-40B4-BE49-F238E27FC236}">
                <a16:creationId xmlns:a16="http://schemas.microsoft.com/office/drawing/2014/main" id="{F8FA69C0-B798-B0EF-B064-997FF774E8E9}"/>
              </a:ext>
            </a:extLst>
          </p:cNvPr>
          <p:cNvSpPr>
            <a:spLocks noGrp="1"/>
          </p:cNvSpPr>
          <p:nvPr>
            <p:ph type="body" sz="quarter" idx="26"/>
          </p:nvPr>
        </p:nvSpPr>
        <p:spPr>
          <a:xfrm>
            <a:off x="6969595" y="2128438"/>
            <a:ext cx="2808000" cy="626701"/>
          </a:xfrm>
        </p:spPr>
        <p:txBody>
          <a:bodyPr lIns="0" tIns="0" rIns="0" bIns="0">
            <a:normAutofit/>
          </a:bodyPr>
          <a:lstStyle>
            <a:lvl1pPr marL="0" indent="0">
              <a:lnSpc>
                <a:spcPct val="100000"/>
              </a:lnSpc>
              <a:spcBef>
                <a:spcPts val="0"/>
              </a:spcBef>
              <a:buNone/>
              <a:defRPr lang="en-US" sz="9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10000"/>
              </a:lnSpc>
              <a:spcBef>
                <a:spcPts val="0"/>
              </a:spcBef>
              <a:spcAft>
                <a:spcPts val="0"/>
              </a:spcAft>
              <a:buClrTx/>
              <a:buSzPct val="90000"/>
              <a:buFont typeface="Wingdings" panose="05000000000000000000" pitchFamily="2" charset="2"/>
              <a:buNone/>
              <a:tabLst/>
            </a:pPr>
            <a:r>
              <a:rPr lang="en-US"/>
              <a:t>Click to edit Master text styles</a:t>
            </a:r>
          </a:p>
        </p:txBody>
      </p:sp>
      <p:sp>
        <p:nvSpPr>
          <p:cNvPr id="188" name="Step 3 Bottom">
            <a:extLst>
              <a:ext uri="{FF2B5EF4-FFF2-40B4-BE49-F238E27FC236}">
                <a16:creationId xmlns:a16="http://schemas.microsoft.com/office/drawing/2014/main" id="{FFA3E6BA-ECB6-F78C-CF22-7B05706020E3}"/>
              </a:ext>
            </a:extLst>
          </p:cNvPr>
          <p:cNvSpPr>
            <a:spLocks noGrp="1"/>
          </p:cNvSpPr>
          <p:nvPr>
            <p:ph type="body" sz="quarter" idx="27"/>
          </p:nvPr>
        </p:nvSpPr>
        <p:spPr>
          <a:xfrm>
            <a:off x="6969595" y="3304510"/>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95" name="Step 4 Title">
            <a:extLst>
              <a:ext uri="{FF2B5EF4-FFF2-40B4-BE49-F238E27FC236}">
                <a16:creationId xmlns:a16="http://schemas.microsoft.com/office/drawing/2014/main" id="{4411A19D-5600-3582-7891-BEECA6B3C921}"/>
              </a:ext>
            </a:extLst>
          </p:cNvPr>
          <p:cNvSpPr>
            <a:spLocks noGrp="1"/>
          </p:cNvSpPr>
          <p:nvPr>
            <p:ph type="body" sz="quarter" idx="34" hasCustomPrompt="1"/>
          </p:nvPr>
        </p:nvSpPr>
        <p:spPr>
          <a:xfrm>
            <a:off x="6969595" y="415007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96" name="Step 4 Top">
            <a:extLst>
              <a:ext uri="{FF2B5EF4-FFF2-40B4-BE49-F238E27FC236}">
                <a16:creationId xmlns:a16="http://schemas.microsoft.com/office/drawing/2014/main" id="{E6756EC6-5C62-CCBD-6970-540F4E463C66}"/>
              </a:ext>
            </a:extLst>
          </p:cNvPr>
          <p:cNvSpPr>
            <a:spLocks noGrp="1"/>
          </p:cNvSpPr>
          <p:nvPr>
            <p:ph type="body" sz="quarter" idx="35"/>
          </p:nvPr>
        </p:nvSpPr>
        <p:spPr>
          <a:xfrm>
            <a:off x="6969595" y="4584616"/>
            <a:ext cx="2808000" cy="626701"/>
          </a:xfrm>
        </p:spPr>
        <p:txBody>
          <a:bodyPr lIns="0" tIns="0" rIns="0" bIns="0">
            <a:normAutofit/>
          </a:bodyPr>
          <a:lstStyle>
            <a:lvl1pPr marL="0" indent="0">
              <a:lnSpc>
                <a:spcPct val="100000"/>
              </a:lnSpc>
              <a:spcBef>
                <a:spcPts val="0"/>
              </a:spcBef>
              <a:buNone/>
              <a:defRPr sz="900"/>
            </a:lvl1pPr>
          </a:lstStyle>
          <a:p>
            <a:pPr lvl="0"/>
            <a:r>
              <a:rPr lang="en-US"/>
              <a:t>Click to edit Master text styles</a:t>
            </a:r>
          </a:p>
        </p:txBody>
      </p:sp>
      <p:sp>
        <p:nvSpPr>
          <p:cNvPr id="197" name="Step 4 Bottom">
            <a:extLst>
              <a:ext uri="{FF2B5EF4-FFF2-40B4-BE49-F238E27FC236}">
                <a16:creationId xmlns:a16="http://schemas.microsoft.com/office/drawing/2014/main" id="{56520A8E-9E5D-0840-1CB1-35762F47BF5D}"/>
              </a:ext>
            </a:extLst>
          </p:cNvPr>
          <p:cNvSpPr>
            <a:spLocks noGrp="1"/>
          </p:cNvSpPr>
          <p:nvPr>
            <p:ph type="body" sz="quarter" idx="36"/>
          </p:nvPr>
        </p:nvSpPr>
        <p:spPr>
          <a:xfrm>
            <a:off x="6969595" y="5696772"/>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192" name="Step 5 Title">
            <a:extLst>
              <a:ext uri="{FF2B5EF4-FFF2-40B4-BE49-F238E27FC236}">
                <a16:creationId xmlns:a16="http://schemas.microsoft.com/office/drawing/2014/main" id="{D8F51403-DA8F-C60A-932D-8B8817FDA751}"/>
              </a:ext>
            </a:extLst>
          </p:cNvPr>
          <p:cNvSpPr>
            <a:spLocks noGrp="1"/>
          </p:cNvSpPr>
          <p:nvPr>
            <p:ph type="body" sz="quarter" idx="31" hasCustomPrompt="1"/>
          </p:nvPr>
        </p:nvSpPr>
        <p:spPr>
          <a:xfrm>
            <a:off x="3776898" y="415007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93" name="Step 5 Top">
            <a:extLst>
              <a:ext uri="{FF2B5EF4-FFF2-40B4-BE49-F238E27FC236}">
                <a16:creationId xmlns:a16="http://schemas.microsoft.com/office/drawing/2014/main" id="{1D287AE8-D07F-849B-E6F1-1AC629E8FB32}"/>
              </a:ext>
            </a:extLst>
          </p:cNvPr>
          <p:cNvSpPr>
            <a:spLocks noGrp="1"/>
          </p:cNvSpPr>
          <p:nvPr>
            <p:ph type="body" sz="quarter" idx="32"/>
          </p:nvPr>
        </p:nvSpPr>
        <p:spPr>
          <a:xfrm>
            <a:off x="3776898" y="4584616"/>
            <a:ext cx="2808000" cy="626701"/>
          </a:xfrm>
        </p:spPr>
        <p:txBody>
          <a:bodyPr lIns="0" tIns="0" rIns="0" bIns="0">
            <a:normAutofit/>
          </a:bodyPr>
          <a:lstStyle>
            <a:lvl1pPr marL="0" indent="0">
              <a:lnSpc>
                <a:spcPct val="100000"/>
              </a:lnSpc>
              <a:spcBef>
                <a:spcPts val="0"/>
              </a:spcBef>
              <a:buNone/>
              <a:defRPr sz="900"/>
            </a:lvl1pPr>
          </a:lstStyle>
          <a:p>
            <a:pPr lvl="0"/>
            <a:r>
              <a:rPr lang="en-US" dirty="0"/>
              <a:t>Click to edit Master text styles</a:t>
            </a:r>
          </a:p>
        </p:txBody>
      </p:sp>
      <p:sp>
        <p:nvSpPr>
          <p:cNvPr id="194" name="Step 5 Bottom">
            <a:extLst>
              <a:ext uri="{FF2B5EF4-FFF2-40B4-BE49-F238E27FC236}">
                <a16:creationId xmlns:a16="http://schemas.microsoft.com/office/drawing/2014/main" id="{D79AB424-C959-FD9F-0942-4B657234F221}"/>
              </a:ext>
            </a:extLst>
          </p:cNvPr>
          <p:cNvSpPr>
            <a:spLocks noGrp="1"/>
          </p:cNvSpPr>
          <p:nvPr>
            <p:ph type="body" sz="quarter" idx="33"/>
          </p:nvPr>
        </p:nvSpPr>
        <p:spPr>
          <a:xfrm>
            <a:off x="3776897" y="5681038"/>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189" name="Step 6 Title">
            <a:extLst>
              <a:ext uri="{FF2B5EF4-FFF2-40B4-BE49-F238E27FC236}">
                <a16:creationId xmlns:a16="http://schemas.microsoft.com/office/drawing/2014/main" id="{E07EBCA7-C1BD-E0AD-6403-14224CB1B5C6}"/>
              </a:ext>
            </a:extLst>
          </p:cNvPr>
          <p:cNvSpPr>
            <a:spLocks noGrp="1"/>
          </p:cNvSpPr>
          <p:nvPr>
            <p:ph type="body" sz="quarter" idx="28" hasCustomPrompt="1"/>
          </p:nvPr>
        </p:nvSpPr>
        <p:spPr>
          <a:xfrm>
            <a:off x="584200" y="415007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90" name="Step 6 Top">
            <a:extLst>
              <a:ext uri="{FF2B5EF4-FFF2-40B4-BE49-F238E27FC236}">
                <a16:creationId xmlns:a16="http://schemas.microsoft.com/office/drawing/2014/main" id="{880DDDC9-1973-AB6B-84B0-8402F7E57DD6}"/>
              </a:ext>
            </a:extLst>
          </p:cNvPr>
          <p:cNvSpPr>
            <a:spLocks noGrp="1"/>
          </p:cNvSpPr>
          <p:nvPr>
            <p:ph type="body" sz="quarter" idx="29"/>
          </p:nvPr>
        </p:nvSpPr>
        <p:spPr>
          <a:xfrm>
            <a:off x="584200" y="4584616"/>
            <a:ext cx="2808000" cy="626701"/>
          </a:xfrm>
        </p:spPr>
        <p:txBody>
          <a:bodyPr lIns="0" tIns="0" rIns="0" bIns="0">
            <a:normAutofit/>
          </a:bodyPr>
          <a:lstStyle>
            <a:lvl1pPr marL="0" indent="0">
              <a:lnSpc>
                <a:spcPct val="100000"/>
              </a:lnSpc>
              <a:spcBef>
                <a:spcPts val="0"/>
              </a:spcBef>
              <a:buNone/>
              <a:defRPr sz="900"/>
            </a:lvl1pPr>
          </a:lstStyle>
          <a:p>
            <a:pPr lvl="0"/>
            <a:r>
              <a:rPr lang="en-US"/>
              <a:t>Click to edit Master text styles</a:t>
            </a:r>
          </a:p>
        </p:txBody>
      </p:sp>
      <p:sp>
        <p:nvSpPr>
          <p:cNvPr id="191" name="Step 6 Bottom">
            <a:extLst>
              <a:ext uri="{FF2B5EF4-FFF2-40B4-BE49-F238E27FC236}">
                <a16:creationId xmlns:a16="http://schemas.microsoft.com/office/drawing/2014/main" id="{779BA1D8-105C-B66F-63AF-84DC7F622456}"/>
              </a:ext>
            </a:extLst>
          </p:cNvPr>
          <p:cNvSpPr>
            <a:spLocks noGrp="1"/>
          </p:cNvSpPr>
          <p:nvPr>
            <p:ph type="body" sz="quarter" idx="30"/>
          </p:nvPr>
        </p:nvSpPr>
        <p:spPr>
          <a:xfrm>
            <a:off x="584200" y="5681038"/>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5" name="Footnote">
            <a:extLst>
              <a:ext uri="{FF2B5EF4-FFF2-40B4-BE49-F238E27FC236}">
                <a16:creationId xmlns:a16="http://schemas.microsoft.com/office/drawing/2014/main" id="{31EB8337-5CD4-C7D9-AFCA-89AFAC81CFF8}"/>
              </a:ext>
            </a:extLst>
          </p:cNvPr>
          <p:cNvSpPr txBox="1">
            <a:spLocks/>
          </p:cNvSpPr>
          <p:nvPr userDrawn="1"/>
        </p:nvSpPr>
        <p:spPr>
          <a:xfrm>
            <a:off x="653131" y="6406129"/>
            <a:ext cx="9597418"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7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aseline="30000" noProof="0" dirty="0"/>
              <a:t>1</a:t>
            </a:r>
            <a:r>
              <a:rPr lang="en-US" noProof="0" dirty="0"/>
              <a:t>Access M365 Copilot Chat at </a:t>
            </a:r>
            <a:r>
              <a:rPr lang="en-US" noProof="0" dirty="0">
                <a:hlinkClick r:id="rId2"/>
              </a:rPr>
              <a:t>m365copilot.com </a:t>
            </a:r>
            <a:r>
              <a:rPr lang="en-US" noProof="0" dirty="0"/>
              <a:t>or the Microsoft 365 Copilot Chat mobile app and set toggle to “Web”.</a:t>
            </a:r>
          </a:p>
          <a:p>
            <a:r>
              <a:rPr lang="en-US" baseline="30000" noProof="0" dirty="0"/>
              <a:t>2</a:t>
            </a:r>
            <a:r>
              <a:rPr lang="en-US" noProof="0" dirty="0"/>
              <a:t>Access M365 Copilot Chat at </a:t>
            </a:r>
            <a:r>
              <a:rPr lang="en-US" noProof="0" dirty="0">
                <a:hlinkClick r:id="rId2"/>
              </a:rPr>
              <a:t>m365copilot.com</a:t>
            </a:r>
            <a:r>
              <a:rPr lang="en-US" noProof="0" dirty="0"/>
              <a:t>, the Microsoft 365 Copilot Chat mobile app, or the M365 Copilot Chat app in Teams, and set toggle to “Work”.</a:t>
            </a:r>
          </a:p>
          <a:p>
            <a:r>
              <a:rPr lang="en-US" baseline="30000" noProof="0" dirty="0"/>
              <a:t>3</a:t>
            </a:r>
            <a:r>
              <a:rPr lang="en-US" noProof="0" dirty="0"/>
              <a:t>Copilot agents allow Copilot to access your organization-specific apps. In the past this would have required an API call to get data from a system of record.</a:t>
            </a:r>
          </a:p>
          <a:p>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The content in this example scenario is for demonstration purposes only. You should evaluate how Copilot aligns with your organization’s business processes, regulatory requirements, and responsible AI principles.</a:t>
            </a:r>
          </a:p>
        </p:txBody>
      </p:sp>
    </p:spTree>
    <p:extLst>
      <p:ext uri="{BB962C8B-B14F-4D97-AF65-F5344CB8AC3E}">
        <p14:creationId xmlns:p14="http://schemas.microsoft.com/office/powerpoint/2010/main" val="40668552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166420605"/>
      </p:ext>
    </p:extLst>
  </p:cSld>
  <p:clrMap bg1="lt1" tx1="dk1" bg2="lt2" tx2="dk2" accent1="accent1" accent2="accent2" accent3="accent3" accent4="accent4" accent5="accent5" accent6="accent6" hlink="hlink" folHlink="folHlink"/>
  <p:sldLayoutIdLst>
    <p:sldLayoutId id="2147483710" r:id="rId1"/>
    <p:sldLayoutId id="2147483674" r:id="rId2"/>
    <p:sldLayoutId id="2147483907" r:id="rId3"/>
    <p:sldLayoutId id="2147483835" r:id="rId4"/>
    <p:sldLayoutId id="2147483675" r:id="rId5"/>
    <p:sldLayoutId id="2147483676" r:id="rId6"/>
    <p:sldLayoutId id="2147483908" r:id="rId7"/>
    <p:sldLayoutId id="2147483909" r:id="rId8"/>
    <p:sldLayoutId id="2147483816" r:id="rId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 Target="slide28.xml"/><Relationship Id="rId7" Type="http://schemas.openxmlformats.org/officeDocument/2006/relationships/slide" Target="slide32.xml"/><Relationship Id="rId2" Type="http://schemas.openxmlformats.org/officeDocument/2006/relationships/slide" Target="slide31.xml"/><Relationship Id="rId1" Type="http://schemas.openxmlformats.org/officeDocument/2006/relationships/slideLayout" Target="../slideLayouts/slideLayout4.xml"/><Relationship Id="rId6" Type="http://schemas.openxmlformats.org/officeDocument/2006/relationships/slide" Target="slide29.xml"/><Relationship Id="rId11" Type="http://schemas.openxmlformats.org/officeDocument/2006/relationships/hyperlink" Target="https://www.microsoft.com/en/customers/story/19774-canadian-tire-azure?msockid=37bfc8b260486a8122a0dde861396b98" TargetMode="External"/><Relationship Id="rId5" Type="http://schemas.openxmlformats.org/officeDocument/2006/relationships/slide" Target="slide19.xml"/><Relationship Id="rId10" Type="http://schemas.openxmlformats.org/officeDocument/2006/relationships/image" Target="../media/image30.png"/><Relationship Id="rId4" Type="http://schemas.openxmlformats.org/officeDocument/2006/relationships/slide" Target="slide30.xml"/><Relationship Id="rId9" Type="http://schemas.openxmlformats.org/officeDocument/2006/relationships/hyperlink" Target="https://www.microsoft.com/en/customers/story/1501304071775762777-carmax-retailer-azure-openai-service" TargetMode="External"/></Relationships>
</file>

<file path=ppt/slides/_rels/slide1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hyperlink" Target="https://support.microsoft.com/en-us/topic/overview-of-microsoft-365-chat-preview-5b00a52d-7296-48ee-b938-b95b7209f737" TargetMode="External"/><Relationship Id="rId3" Type="http://schemas.openxmlformats.org/officeDocument/2006/relationships/hyperlink" Target="https://www.microsoft365.com/chat/entity1-d870f6cd-4aa5-4d42-9626-ab690c041429/eyJpZCI6IlRXbGpjbTl6YjJaMFZqSjhhSFIwY0hNNkx5OXpkV0p6ZEhKaGRHVXRhVzUwTG05bVptbGpaUzVqYjIwdmZHUjFiVzE1ZkdJeU1qTmtNR1psTFRRNU4yWXROR0UyTkMwNU9EYzBMV1kyT1RnNFpESXpNemM1Tlh4bGJpMTFjdyUzZCUzZCIsInNjZW5hcmlvIjoic2hhcmVMaW5rIiwicHJvcGVydGllcyI6eyJwcm9tcHRTb3VyY2UiOiJtaWNyb3NvZnQiLCJjbGlja1RpbWVzdGFtcCI6IjIwMjUtMDItMjdUMTc6Mjk6MDQuODc5WiJ9LCJjaGF0VHlwZSI6IndvcmsiLCJ2ZXJzaW9uIjoxLjF9" TargetMode="External"/><Relationship Id="rId7" Type="http://schemas.openxmlformats.org/officeDocument/2006/relationships/image" Target="../media/image35.sv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34.png"/><Relationship Id="rId5" Type="http://schemas.openxmlformats.org/officeDocument/2006/relationships/image" Target="../media/image33.svg"/><Relationship Id="rId4" Type="http://schemas.openxmlformats.org/officeDocument/2006/relationships/image" Target="../media/image32.png"/><Relationship Id="rId9" Type="http://schemas.openxmlformats.org/officeDocument/2006/relationships/image" Target="../media/image36.png"/></Relationships>
</file>

<file path=ppt/slides/_rels/slide1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4.png"/><Relationship Id="rId7" Type="http://schemas.openxmlformats.org/officeDocument/2006/relationships/hyperlink" Target="https://support.microsoft.com/en-us/topic/overview-of-microsoft-365-chat-preview-5b00a52d-7296-48ee-b938-b95b7209f737" TargetMode="External"/><Relationship Id="rId2" Type="http://schemas.openxmlformats.org/officeDocument/2006/relationships/hyperlink" Target="https://www.microsoft.com/en/customers/story/1759309014350031747-joos-microsoft-copilot-consumer-goods-en-united-kingdom" TargetMode="External"/><Relationship Id="rId1" Type="http://schemas.openxmlformats.org/officeDocument/2006/relationships/slideLayout" Target="../slideLayouts/slideLayout8.xml"/><Relationship Id="rId6" Type="http://schemas.openxmlformats.org/officeDocument/2006/relationships/image" Target="../media/image37.svg"/><Relationship Id="rId5" Type="http://schemas.openxmlformats.org/officeDocument/2006/relationships/image" Target="../media/image32.png"/><Relationship Id="rId4" Type="http://schemas.openxmlformats.org/officeDocument/2006/relationships/image" Target="../media/image35.svg"/></Relationships>
</file>

<file path=ppt/slides/_rels/slide19.xml.rels><?xml version="1.0" encoding="UTF-8" standalone="yes"?>
<Relationships xmlns="http://schemas.openxmlformats.org/package/2006/relationships"><Relationship Id="rId8" Type="http://schemas.openxmlformats.org/officeDocument/2006/relationships/hyperlink" Target="https://youtu.be/jdKqR3zjfOg" TargetMode="External"/><Relationship Id="rId3" Type="http://schemas.openxmlformats.org/officeDocument/2006/relationships/image" Target="../media/image34.png"/><Relationship Id="rId7" Type="http://schemas.openxmlformats.org/officeDocument/2006/relationships/image" Target="../media/image37.sv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32.png"/><Relationship Id="rId11" Type="http://schemas.openxmlformats.org/officeDocument/2006/relationships/image" Target="../media/image36.png"/><Relationship Id="rId5" Type="http://schemas.openxmlformats.org/officeDocument/2006/relationships/hyperlink" Target="https://www.microsoft.com/en/customers/story/754571-pepsico-consumer-goods-azure-machine-learning" TargetMode="External"/><Relationship Id="rId10" Type="http://schemas.openxmlformats.org/officeDocument/2006/relationships/hyperlink" Target="https://support.microsoft.com/en-us/topic/overview-of-microsoft-365-chat-preview-5b00a52d-7296-48ee-b938-b95b7209f737" TargetMode="External"/><Relationship Id="rId4" Type="http://schemas.openxmlformats.org/officeDocument/2006/relationships/image" Target="../media/image35.svg"/><Relationship Id="rId9" Type="http://schemas.openxmlformats.org/officeDocument/2006/relationships/image" Target="../media/image38.png"/></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9.png"/><Relationship Id="rId7" Type="http://schemas.openxmlformats.org/officeDocument/2006/relationships/hyperlink" Target="https://aka.ms/prompts" TargetMode="External"/><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svg"/><Relationship Id="rId9" Type="http://schemas.openxmlformats.org/officeDocument/2006/relationships/image" Target="../media/image14.png"/></Relationships>
</file>

<file path=ppt/slides/_rels/slide20.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37.svg"/><Relationship Id="rId11" Type="http://schemas.openxmlformats.org/officeDocument/2006/relationships/image" Target="../media/image36.png"/><Relationship Id="rId5" Type="http://schemas.openxmlformats.org/officeDocument/2006/relationships/image" Target="../media/image32.png"/><Relationship Id="rId10" Type="http://schemas.openxmlformats.org/officeDocument/2006/relationships/hyperlink" Target="https://support.microsoft.com/en-us/topic/overview-of-microsoft-365-chat-preview-5b00a52d-7296-48ee-b938-b95b7209f737" TargetMode="External"/><Relationship Id="rId4" Type="http://schemas.openxmlformats.org/officeDocument/2006/relationships/image" Target="../media/image35.svg"/><Relationship Id="rId9" Type="http://schemas.openxmlformats.org/officeDocument/2006/relationships/image" Target="../media/image40.svg"/></Relationships>
</file>

<file path=ppt/slides/_rels/slide21.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41.png"/><Relationship Id="rId3" Type="http://schemas.openxmlformats.org/officeDocument/2006/relationships/hyperlink" Target="https://copilot.cloud.microsoft/prompts/what-s-new-e92af03f-d0d9-4847-84d5-920026beba64" TargetMode="External"/><Relationship Id="rId7" Type="http://schemas.openxmlformats.org/officeDocument/2006/relationships/image" Target="../media/image35.svg"/><Relationship Id="rId12"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34.png"/><Relationship Id="rId11" Type="http://schemas.openxmlformats.org/officeDocument/2006/relationships/image" Target="../media/image38.png"/><Relationship Id="rId5" Type="http://schemas.openxmlformats.org/officeDocument/2006/relationships/hyperlink" Target="https://youtu.be/TUIyBsxAo0A" TargetMode="External"/><Relationship Id="rId10" Type="http://schemas.openxmlformats.org/officeDocument/2006/relationships/hyperlink" Target="https://support.microsoft.com/en-us/topic/overview-of-microsoft-365-chat-preview-5b00a52d-7296-48ee-b938-b95b7209f737" TargetMode="External"/><Relationship Id="rId4" Type="http://schemas.openxmlformats.org/officeDocument/2006/relationships/hyperlink" Target="https://copilot.cloud.microsoft/prompts/44625501-0fca-46cd-8075-3f987e68cb91?ocid=CopilotLab_Web_SS_CopyLink" TargetMode="External"/><Relationship Id="rId9" Type="http://schemas.openxmlformats.org/officeDocument/2006/relationships/image" Target="../media/image37.svg"/></Relationships>
</file>

<file path=ppt/slides/_rels/slide22.xml.rels><?xml version="1.0" encoding="UTF-8" standalone="yes"?>
<Relationships xmlns="http://schemas.openxmlformats.org/package/2006/relationships"><Relationship Id="rId8" Type="http://schemas.openxmlformats.org/officeDocument/2006/relationships/hyperlink" Target="https://support.microsoft.com/en-us/topic/overview-of-microsoft-365-chat-preview-5b00a52d-7296-48ee-b938-b95b7209f737" TargetMode="External"/><Relationship Id="rId3" Type="http://schemas.openxmlformats.org/officeDocument/2006/relationships/image" Target="../media/image32.png"/><Relationship Id="rId7" Type="http://schemas.openxmlformats.org/officeDocument/2006/relationships/image" Target="../media/image38.png"/><Relationship Id="rId2" Type="http://schemas.openxmlformats.org/officeDocument/2006/relationships/hyperlink" Target="https://www.microsoft.com/en/customers/story/1558909662014453187-fashable-retail-azure?msockid=37bfc8b260486a8122a0dde861396b98" TargetMode="External"/><Relationship Id="rId1" Type="http://schemas.openxmlformats.org/officeDocument/2006/relationships/slideLayout" Target="../slideLayouts/slideLayout7.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 Id="rId9" Type="http://schemas.openxmlformats.org/officeDocument/2006/relationships/image" Target="../media/image36.png"/></Relationships>
</file>

<file path=ppt/slides/_rels/slide23.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image" Target="../media/image38.png"/><Relationship Id="rId3" Type="http://schemas.openxmlformats.org/officeDocument/2006/relationships/hyperlink" Target="https://copilot.cloud.microsoft/prompts/9273f38d-3bb0-472d-b61f-f1daeb597434?ocid=CopilotLab_Web_SS_CopyLink" TargetMode="External"/><Relationship Id="rId7" Type="http://schemas.openxmlformats.org/officeDocument/2006/relationships/image" Target="../media/image32.png"/><Relationship Id="rId12"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35.svg"/><Relationship Id="rId11" Type="http://schemas.openxmlformats.org/officeDocument/2006/relationships/hyperlink" Target="https://support.microsoft.com/en-us/topic/overview-of-microsoft-365-chat-preview-5b00a52d-7296-48ee-b938-b95b7209f737" TargetMode="External"/><Relationship Id="rId5" Type="http://schemas.openxmlformats.org/officeDocument/2006/relationships/image" Target="../media/image34.png"/><Relationship Id="rId10" Type="http://schemas.openxmlformats.org/officeDocument/2006/relationships/image" Target="../media/image43.svg"/><Relationship Id="rId4" Type="http://schemas.openxmlformats.org/officeDocument/2006/relationships/hyperlink" Target="https://copilot.cloud.microsoft/prompts/6238c5ed-ae86-464f-9dbc-00c953ebfe9c?ocid=CopilotLab_Web_SS_CopyLink" TargetMode="External"/><Relationship Id="rId9" Type="http://schemas.openxmlformats.org/officeDocument/2006/relationships/image" Target="../media/image42.png"/></Relationships>
</file>

<file path=ppt/slides/_rels/slide24.xml.rels><?xml version="1.0" encoding="UTF-8" standalone="yes"?>
<Relationships xmlns="http://schemas.openxmlformats.org/package/2006/relationships"><Relationship Id="rId8" Type="http://schemas.openxmlformats.org/officeDocument/2006/relationships/image" Target="../media/image35.svg"/><Relationship Id="rId13" Type="http://schemas.openxmlformats.org/officeDocument/2006/relationships/image" Target="../media/image46.svg"/><Relationship Id="rId18" Type="http://schemas.openxmlformats.org/officeDocument/2006/relationships/hyperlink" Target="https://support.microsoft.com/en-us/topic/overview-of-microsoft-365-chat-preview-5b00a52d-7296-48ee-b938-b95b7209f737" TargetMode="External"/><Relationship Id="rId3" Type="http://schemas.openxmlformats.org/officeDocument/2006/relationships/hyperlink" Target="https://copilot.cloud.microsoft/prompts/97ad49a6-6dcf-4471-873a-2e3074d49963" TargetMode="External"/><Relationship Id="rId21" Type="http://schemas.openxmlformats.org/officeDocument/2006/relationships/image" Target="../media/image43.svg"/><Relationship Id="rId7" Type="http://schemas.openxmlformats.org/officeDocument/2006/relationships/image" Target="../media/image34.png"/><Relationship Id="rId12" Type="http://schemas.openxmlformats.org/officeDocument/2006/relationships/image" Target="../media/image45.png"/><Relationship Id="rId17" Type="http://schemas.openxmlformats.org/officeDocument/2006/relationships/image" Target="../media/image41.png"/><Relationship Id="rId2" Type="http://schemas.openxmlformats.org/officeDocument/2006/relationships/hyperlink" Target="https://copilot.cloud.microsoft/prompts/17b3f43b-eaae-493c-a894-bd38694c7888" TargetMode="External"/><Relationship Id="rId16" Type="http://schemas.openxmlformats.org/officeDocument/2006/relationships/hyperlink" Target="https://www.youtube.com/embed/TqVdC0GEJrs?si=Po0W_Fi9o-9ikfjn" TargetMode="External"/><Relationship Id="rId20" Type="http://schemas.openxmlformats.org/officeDocument/2006/relationships/image" Target="../media/image42.png"/><Relationship Id="rId1" Type="http://schemas.openxmlformats.org/officeDocument/2006/relationships/slideLayout" Target="../slideLayouts/slideLayout8.xml"/><Relationship Id="rId6" Type="http://schemas.openxmlformats.org/officeDocument/2006/relationships/hyperlink" Target="https://copilot.cloud.microsoft/prompts/create-presentations-cda82238-15fd-4a05-adad-b7691d84fac3" TargetMode="External"/><Relationship Id="rId11" Type="http://schemas.openxmlformats.org/officeDocument/2006/relationships/image" Target="../media/image44.png"/><Relationship Id="rId5" Type="http://schemas.openxmlformats.org/officeDocument/2006/relationships/hyperlink" Target="https://copilot.cloud.microsoft/prompts/360a75d2-9679-43bd-a6b2-b1bba39ca2a2" TargetMode="External"/><Relationship Id="rId15" Type="http://schemas.openxmlformats.org/officeDocument/2006/relationships/image" Target="../media/image48.svg"/><Relationship Id="rId10" Type="http://schemas.openxmlformats.org/officeDocument/2006/relationships/image" Target="../media/image37.svg"/><Relationship Id="rId19" Type="http://schemas.openxmlformats.org/officeDocument/2006/relationships/image" Target="../media/image36.png"/><Relationship Id="rId4" Type="http://schemas.openxmlformats.org/officeDocument/2006/relationships/hyperlink" Target="https://copilot.cloud.microsoft/prompts/41d98a11-8fe4-4457-9eb6-f4674d00ba08" TargetMode="External"/><Relationship Id="rId9" Type="http://schemas.openxmlformats.org/officeDocument/2006/relationships/image" Target="../media/image32.png"/><Relationship Id="rId14" Type="http://schemas.openxmlformats.org/officeDocument/2006/relationships/image" Target="../media/image47.png"/></Relationships>
</file>

<file path=ppt/slides/_rels/slide25.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6.png"/><Relationship Id="rId3" Type="http://schemas.openxmlformats.org/officeDocument/2006/relationships/hyperlink" Target="https://copilot.cloud.microsoft/prompts/17b3f43b-eaae-493c-a894-bd38694c7888" TargetMode="External"/><Relationship Id="rId7" Type="http://schemas.openxmlformats.org/officeDocument/2006/relationships/hyperlink" Target="https://copilot.cloud.microsoft/prompts/97ad49a6-6dcf-4471-873a-2e3074d49963" TargetMode="External"/><Relationship Id="rId12" Type="http://schemas.openxmlformats.org/officeDocument/2006/relationships/hyperlink" Target="https://support.microsoft.com/en-us/topic/overview-of-microsoft-365-chat-preview-5b00a52d-7296-48ee-b938-b95b7209f737" TargetMode="External"/><Relationship Id="rId17" Type="http://schemas.openxmlformats.org/officeDocument/2006/relationships/image" Target="../media/image49.png"/><Relationship Id="rId2" Type="http://schemas.openxmlformats.org/officeDocument/2006/relationships/hyperlink" Target="https://copilot.cloud.microsoft/prompts/3dc0470d-5e34-4b9e-9a59-b11f2fedeb9d" TargetMode="External"/><Relationship Id="rId16" Type="http://schemas.openxmlformats.org/officeDocument/2006/relationships/image" Target="../media/image43.svg"/><Relationship Id="rId1" Type="http://schemas.openxmlformats.org/officeDocument/2006/relationships/slideLayout" Target="../slideLayouts/slideLayout8.xml"/><Relationship Id="rId6" Type="http://schemas.openxmlformats.org/officeDocument/2006/relationships/hyperlink" Target="https://copilot.cloud.microsoft/prompts/5128af2d-6b19-4d6d-973e-a443b191393c?ocid=CopilotLab_Web_SS_CopyLink" TargetMode="External"/><Relationship Id="rId11" Type="http://schemas.openxmlformats.org/officeDocument/2006/relationships/image" Target="../media/image37.svg"/><Relationship Id="rId5" Type="http://schemas.openxmlformats.org/officeDocument/2006/relationships/hyperlink" Target="https://copilot.cloud.microsoft/prompts/b7a25034-10e0-47fe-a8ef-7f60d9965c8f?ocid=CopilotLab_Web_SS_CopyLink" TargetMode="External"/><Relationship Id="rId15" Type="http://schemas.openxmlformats.org/officeDocument/2006/relationships/image" Target="../media/image42.png"/><Relationship Id="rId10" Type="http://schemas.openxmlformats.org/officeDocument/2006/relationships/image" Target="../media/image32.png"/><Relationship Id="rId4" Type="http://schemas.openxmlformats.org/officeDocument/2006/relationships/hyperlink" Target="https://copilot.cloud.microsoft/prompts/e475ceb5-d487-426f-a001-8ce2e6847c30?ocid=CopilotLab_Web_SS_CopyLink" TargetMode="External"/><Relationship Id="rId9" Type="http://schemas.openxmlformats.org/officeDocument/2006/relationships/image" Target="../media/image35.svg"/><Relationship Id="rId14" Type="http://schemas.openxmlformats.org/officeDocument/2006/relationships/image" Target="../media/image44.png"/></Relationships>
</file>

<file path=ppt/slides/_rels/slide26.xml.rels><?xml version="1.0" encoding="UTF-8" standalone="yes"?>
<Relationships xmlns="http://schemas.openxmlformats.org/package/2006/relationships"><Relationship Id="rId8" Type="http://schemas.openxmlformats.org/officeDocument/2006/relationships/hyperlink" Target="https://support.microsoft.com/en-us/topic/overview-of-microsoft-365-chat-preview-5b00a52d-7296-48ee-b938-b95b7209f737" TargetMode="External"/><Relationship Id="rId3" Type="http://schemas.openxmlformats.org/officeDocument/2006/relationships/image" Target="../media/image34.png"/><Relationship Id="rId7" Type="http://schemas.openxmlformats.org/officeDocument/2006/relationships/image" Target="../media/image44.png"/><Relationship Id="rId2" Type="http://schemas.openxmlformats.org/officeDocument/2006/relationships/hyperlink" Target="https://www.microsoft.com/en/customers/story/1759309014350031747-joos-microsoft-copilot-consumer-goods-en-united-kingdom" TargetMode="External"/><Relationship Id="rId1" Type="http://schemas.openxmlformats.org/officeDocument/2006/relationships/slideLayout" Target="../slideLayouts/slideLayout7.xml"/><Relationship Id="rId6" Type="http://schemas.openxmlformats.org/officeDocument/2006/relationships/image" Target="../media/image37.svg"/><Relationship Id="rId5" Type="http://schemas.openxmlformats.org/officeDocument/2006/relationships/image" Target="../media/image32.png"/><Relationship Id="rId10" Type="http://schemas.openxmlformats.org/officeDocument/2006/relationships/image" Target="../media/image38.png"/><Relationship Id="rId4" Type="http://schemas.openxmlformats.org/officeDocument/2006/relationships/image" Target="../media/image35.svg"/><Relationship Id="rId9" Type="http://schemas.openxmlformats.org/officeDocument/2006/relationships/image" Target="../media/image36.png"/></Relationships>
</file>

<file path=ppt/slides/_rels/slide27.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oleObject" Target="../embeddings/oleObject1.bin"/><Relationship Id="rId7" Type="http://schemas.openxmlformats.org/officeDocument/2006/relationships/image" Target="../media/image32.png"/><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image" Target="../media/image35.svg"/><Relationship Id="rId5" Type="http://schemas.openxmlformats.org/officeDocument/2006/relationships/image" Target="../media/image34.png"/><Relationship Id="rId10" Type="http://schemas.openxmlformats.org/officeDocument/2006/relationships/image" Target="../media/image41.png"/><Relationship Id="rId4" Type="http://schemas.openxmlformats.org/officeDocument/2006/relationships/image" Target="../media/image50.emf"/><Relationship Id="rId9" Type="http://schemas.openxmlformats.org/officeDocument/2006/relationships/image" Target="../media/image38.png"/></Relationships>
</file>

<file path=ppt/slides/_rels/slide28.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image" Target="../media/image44.png"/><Relationship Id="rId3" Type="http://schemas.openxmlformats.org/officeDocument/2006/relationships/oleObject" Target="../embeddings/oleObject2.bin"/><Relationship Id="rId7" Type="http://schemas.openxmlformats.org/officeDocument/2006/relationships/image" Target="../media/image32.png"/><Relationship Id="rId12" Type="http://schemas.openxmlformats.org/officeDocument/2006/relationships/image" Target="../media/image36.png"/><Relationship Id="rId2" Type="http://schemas.openxmlformats.org/officeDocument/2006/relationships/slideLayout" Target="../slideLayouts/slideLayout8.xml"/><Relationship Id="rId1" Type="http://schemas.openxmlformats.org/officeDocument/2006/relationships/tags" Target="../tags/tag2.xml"/><Relationship Id="rId6" Type="http://schemas.openxmlformats.org/officeDocument/2006/relationships/image" Target="../media/image35.svg"/><Relationship Id="rId11" Type="http://schemas.openxmlformats.org/officeDocument/2006/relationships/hyperlink" Target="https://support.microsoft.com/en-us/topic/overview-of-microsoft-365-chat-preview-5b00a52d-7296-48ee-b938-b95b7209f737" TargetMode="External"/><Relationship Id="rId5" Type="http://schemas.openxmlformats.org/officeDocument/2006/relationships/image" Target="../media/image34.png"/><Relationship Id="rId10" Type="http://schemas.openxmlformats.org/officeDocument/2006/relationships/image" Target="../media/image46.svg"/><Relationship Id="rId4" Type="http://schemas.openxmlformats.org/officeDocument/2006/relationships/image" Target="../media/image50.emf"/><Relationship Id="rId9" Type="http://schemas.openxmlformats.org/officeDocument/2006/relationships/image" Target="../media/image45.png"/></Relationships>
</file>

<file path=ppt/slides/_rels/slide29.xml.rels><?xml version="1.0" encoding="UTF-8" standalone="yes"?>
<Relationships xmlns="http://schemas.openxmlformats.org/package/2006/relationships"><Relationship Id="rId8" Type="http://schemas.openxmlformats.org/officeDocument/2006/relationships/hyperlink" Target="https://support.microsoft.com/en-us/topic/overview-of-microsoft-365-chat-preview-5b00a52d-7296-48ee-b938-b95b7209f737" TargetMode="External"/><Relationship Id="rId3" Type="http://schemas.openxmlformats.org/officeDocument/2006/relationships/hyperlink" Target="https://learn.microsoft.com/en-us/microsoft-copilot-studio/template-store-ops" TargetMode="External"/><Relationship Id="rId7" Type="http://schemas.openxmlformats.org/officeDocument/2006/relationships/image" Target="../media/image37.sv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32.png"/><Relationship Id="rId5" Type="http://schemas.openxmlformats.org/officeDocument/2006/relationships/image" Target="../media/image35.svg"/><Relationship Id="rId10" Type="http://schemas.openxmlformats.org/officeDocument/2006/relationships/hyperlink" Target="https://learn-video.azurefd.net/vod/player?id=1b113a42-e1c9-4a3e-a07d-6d07e13a99e3" TargetMode="External"/><Relationship Id="rId4" Type="http://schemas.openxmlformats.org/officeDocument/2006/relationships/image" Target="../media/image34.png"/><Relationship Id="rId9" Type="http://schemas.openxmlformats.org/officeDocument/2006/relationships/image" Target="../media/image3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hyperlink" Target="https://support.microsoft.com/en-us/topic/overview-of-microsoft-365-chat-preview-5b00a52d-7296-48ee-b938-b95b7209f737" TargetMode="External"/><Relationship Id="rId3" Type="http://schemas.openxmlformats.org/officeDocument/2006/relationships/hyperlink" Target="https://www.microsoft.com/en/customers/story/1767477780302809137-cpaxtra-microsoft-copilot-for-microsoft-365-consumer-goods-en-thailand" TargetMode="External"/><Relationship Id="rId7" Type="http://schemas.openxmlformats.org/officeDocument/2006/relationships/image" Target="../media/image37.sv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32.png"/><Relationship Id="rId5" Type="http://schemas.openxmlformats.org/officeDocument/2006/relationships/image" Target="../media/image35.svg"/><Relationship Id="rId10" Type="http://schemas.openxmlformats.org/officeDocument/2006/relationships/image" Target="../media/image36.png"/><Relationship Id="rId4" Type="http://schemas.openxmlformats.org/officeDocument/2006/relationships/image" Target="../media/image34.png"/><Relationship Id="rId9" Type="http://schemas.openxmlformats.org/officeDocument/2006/relationships/image" Target="../media/image38.png"/></Relationships>
</file>

<file path=ppt/slides/_rels/slide31.xml.rels><?xml version="1.0" encoding="UTF-8" standalone="yes"?>
<Relationships xmlns="http://schemas.openxmlformats.org/package/2006/relationships"><Relationship Id="rId8" Type="http://schemas.openxmlformats.org/officeDocument/2006/relationships/hyperlink" Target="https://copilot.cloud.microsoft/prompts/c7e523ef-6da8-4f26-a142-23aa8ae2b81b?ocid=CopilotLab_Web_SS_CopyLink" TargetMode="External"/><Relationship Id="rId13" Type="http://schemas.openxmlformats.org/officeDocument/2006/relationships/image" Target="../media/image32.png"/><Relationship Id="rId3" Type="http://schemas.openxmlformats.org/officeDocument/2006/relationships/oleObject" Target="../embeddings/oleObject3.bin"/><Relationship Id="rId7" Type="http://schemas.openxmlformats.org/officeDocument/2006/relationships/hyperlink" Target="https://copilot.cloud.microsoft/prompts/47442ce4-e3a0-48ad-8afb-0b6a736341f6?ocid=CopilotLab_Web_SS_CopyLink" TargetMode="External"/><Relationship Id="rId12" Type="http://schemas.openxmlformats.org/officeDocument/2006/relationships/image" Target="../media/image35.svg"/><Relationship Id="rId2" Type="http://schemas.openxmlformats.org/officeDocument/2006/relationships/slideLayout" Target="../slideLayouts/slideLayout8.xml"/><Relationship Id="rId16" Type="http://schemas.openxmlformats.org/officeDocument/2006/relationships/image" Target="../media/image36.png"/><Relationship Id="rId1" Type="http://schemas.openxmlformats.org/officeDocument/2006/relationships/tags" Target="../tags/tag3.xml"/><Relationship Id="rId6" Type="http://schemas.openxmlformats.org/officeDocument/2006/relationships/hyperlink" Target="https://copilot.cloud.microsoft/prompts/61fa5d5d-9efc-495e-b726-36ee559d1c2c?ocid=CopilotLab_Web_SS_CopyLink" TargetMode="External"/><Relationship Id="rId11" Type="http://schemas.openxmlformats.org/officeDocument/2006/relationships/image" Target="../media/image34.png"/><Relationship Id="rId5" Type="http://schemas.openxmlformats.org/officeDocument/2006/relationships/hyperlink" Target="https://copilot.cloud.microsoft/prompts/c3c9c7bb-3788-49eb-bb61-cf22486528fd?ocid=CopilotLab_Web_SS_CopyLink" TargetMode="External"/><Relationship Id="rId15" Type="http://schemas.openxmlformats.org/officeDocument/2006/relationships/hyperlink" Target="https://support.microsoft.com/en-us/topic/overview-of-microsoft-365-chat-preview-5b00a52d-7296-48ee-b938-b95b7209f737" TargetMode="External"/><Relationship Id="rId10" Type="http://schemas.openxmlformats.org/officeDocument/2006/relationships/hyperlink" Target="https://copilot.cloud.microsoft/prompts/2d5dcc78-cc44-493a-a181-63f4f0b16955?ocid=CopilotLab_Web_SS_CopyLink" TargetMode="External"/><Relationship Id="rId4" Type="http://schemas.openxmlformats.org/officeDocument/2006/relationships/image" Target="../media/image50.emf"/><Relationship Id="rId9" Type="http://schemas.openxmlformats.org/officeDocument/2006/relationships/hyperlink" Target="https://copilot.cloud.microsoft/prompts/a5e2168f-37f1-485f-8532-658d60f62787?ocid=CopilotLab_Web_SS_CopyLink" TargetMode="External"/><Relationship Id="rId14" Type="http://schemas.openxmlformats.org/officeDocument/2006/relationships/image" Target="../media/image37.svg"/></Relationships>
</file>

<file path=ppt/slides/_rels/slide32.xml.rels><?xml version="1.0" encoding="UTF-8" standalone="yes"?>
<Relationships xmlns="http://schemas.openxmlformats.org/package/2006/relationships"><Relationship Id="rId8" Type="http://schemas.openxmlformats.org/officeDocument/2006/relationships/hyperlink" Target="https://www.youtube.com/watch?v=oPY6-duDLok" TargetMode="External"/><Relationship Id="rId3" Type="http://schemas.openxmlformats.org/officeDocument/2006/relationships/hyperlink" Target="https://learn.microsoft.com/industry/retail/store-operations-template-copilot-studio/overview-store-operations-template-copilot-studio" TargetMode="External"/><Relationship Id="rId7" Type="http://schemas.openxmlformats.org/officeDocument/2006/relationships/image" Target="../media/image37.sv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32.png"/><Relationship Id="rId5" Type="http://schemas.openxmlformats.org/officeDocument/2006/relationships/image" Target="../media/image35.svg"/><Relationship Id="rId10" Type="http://schemas.openxmlformats.org/officeDocument/2006/relationships/image" Target="../media/image38.png"/><Relationship Id="rId4" Type="http://schemas.openxmlformats.org/officeDocument/2006/relationships/image" Target="../media/image34.png"/><Relationship Id="rId9" Type="http://schemas.openxmlformats.org/officeDocument/2006/relationships/hyperlink" Target="https://support.microsoft.com/en-us/topic/overview-of-microsoft-365-chat-preview-5b00a52d-7296-48ee-b938-b95b7209f737" TargetMode="External"/></Relationships>
</file>

<file path=ppt/slides/_rels/slide33.xml.rels><?xml version="1.0" encoding="UTF-8" standalone="yes"?>
<Relationships xmlns="http://schemas.openxmlformats.org/package/2006/relationships"><Relationship Id="rId8" Type="http://schemas.openxmlformats.org/officeDocument/2006/relationships/hyperlink" Target="https://support.microsoft.com/en-us/topic/overview-of-microsoft-365-chat-preview-5b00a52d-7296-48ee-b938-b95b7209f737" TargetMode="External"/><Relationship Id="rId3" Type="http://schemas.openxmlformats.org/officeDocument/2006/relationships/hyperlink" Target="https://learn.microsoft.com/industry/retail/ai-personalized-shopping/buy-ai-personalized-shopping" TargetMode="External"/><Relationship Id="rId7" Type="http://schemas.openxmlformats.org/officeDocument/2006/relationships/image" Target="../media/image37.sv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32.png"/><Relationship Id="rId5" Type="http://schemas.openxmlformats.org/officeDocument/2006/relationships/image" Target="../media/image35.svg"/><Relationship Id="rId4" Type="http://schemas.openxmlformats.org/officeDocument/2006/relationships/image" Target="../media/image34.png"/><Relationship Id="rId9" Type="http://schemas.openxmlformats.org/officeDocument/2006/relationships/image" Target="../media/image38.png"/></Relationships>
</file>

<file path=ppt/slides/_rels/slide34.xml.rels><?xml version="1.0" encoding="UTF-8" standalone="yes"?>
<Relationships xmlns="http://schemas.openxmlformats.org/package/2006/relationships"><Relationship Id="rId8" Type="http://schemas.openxmlformats.org/officeDocument/2006/relationships/image" Target="../media/image56.svg"/><Relationship Id="rId13" Type="http://schemas.openxmlformats.org/officeDocument/2006/relationships/image" Target="../media/image60.pn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59.png"/><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image" Target="../media/image54.svg"/><Relationship Id="rId11" Type="http://schemas.openxmlformats.org/officeDocument/2006/relationships/hyperlink" Target="https://support.microsoft.com/en-us/topic/overview-of-microsoft-365-chat-preview-5b00a52d-7296-48ee-b938-b95b7209f737" TargetMode="External"/><Relationship Id="rId5" Type="http://schemas.openxmlformats.org/officeDocument/2006/relationships/image" Target="../media/image53.png"/><Relationship Id="rId10" Type="http://schemas.openxmlformats.org/officeDocument/2006/relationships/image" Target="../media/image58.svg"/><Relationship Id="rId4" Type="http://schemas.openxmlformats.org/officeDocument/2006/relationships/image" Target="../media/image52.svg"/><Relationship Id="rId9" Type="http://schemas.openxmlformats.org/officeDocument/2006/relationships/image" Target="../media/image57.pn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7" Type="http://schemas.microsoft.com/office/2007/relationships/hdphoto" Target="../media/hdphoto1.wdp"/><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22.xml"/><Relationship Id="rId18" Type="http://schemas.openxmlformats.org/officeDocument/2006/relationships/slide" Target="slide29.xml"/><Relationship Id="rId3" Type="http://schemas.openxmlformats.org/officeDocument/2006/relationships/slide" Target="slide18.xml"/><Relationship Id="rId21" Type="http://schemas.openxmlformats.org/officeDocument/2006/relationships/image" Target="../media/image23.jpeg"/><Relationship Id="rId7" Type="http://schemas.openxmlformats.org/officeDocument/2006/relationships/slide" Target="slide33.xml"/><Relationship Id="rId12" Type="http://schemas.openxmlformats.org/officeDocument/2006/relationships/slide" Target="slide27.xml"/><Relationship Id="rId17" Type="http://schemas.openxmlformats.org/officeDocument/2006/relationships/slide" Target="slide19.xml"/><Relationship Id="rId2" Type="http://schemas.openxmlformats.org/officeDocument/2006/relationships/notesSlide" Target="../notesSlides/notesSlide4.xml"/><Relationship Id="rId16" Type="http://schemas.openxmlformats.org/officeDocument/2006/relationships/slide" Target="slide28.xml"/><Relationship Id="rId20" Type="http://schemas.openxmlformats.org/officeDocument/2006/relationships/image" Target="../media/image22.jpeg"/><Relationship Id="rId1" Type="http://schemas.openxmlformats.org/officeDocument/2006/relationships/slideLayout" Target="../slideLayouts/slideLayout4.xml"/><Relationship Id="rId6" Type="http://schemas.openxmlformats.org/officeDocument/2006/relationships/slide" Target="slide26.xml"/><Relationship Id="rId11" Type="http://schemas.openxmlformats.org/officeDocument/2006/relationships/slide" Target="slide20.xml"/><Relationship Id="rId5" Type="http://schemas.openxmlformats.org/officeDocument/2006/relationships/slide" Target="slide23.xml"/><Relationship Id="rId15" Type="http://schemas.openxmlformats.org/officeDocument/2006/relationships/slide" Target="slide30.xml"/><Relationship Id="rId23" Type="http://schemas.openxmlformats.org/officeDocument/2006/relationships/image" Target="../media/image25.jpeg"/><Relationship Id="rId10" Type="http://schemas.openxmlformats.org/officeDocument/2006/relationships/slide" Target="slide21.xml"/><Relationship Id="rId19" Type="http://schemas.openxmlformats.org/officeDocument/2006/relationships/slide" Target="slide32.xml"/><Relationship Id="rId4" Type="http://schemas.openxmlformats.org/officeDocument/2006/relationships/slide" Target="slide25.xml"/><Relationship Id="rId9" Type="http://schemas.openxmlformats.org/officeDocument/2006/relationships/slide" Target="slide24.xml"/><Relationship Id="rId14" Type="http://schemas.openxmlformats.org/officeDocument/2006/relationships/slide" Target="slide31.xml"/><Relationship Id="rId22" Type="http://schemas.openxmlformats.org/officeDocument/2006/relationships/image" Target="../media/image24.jpeg"/></Relationships>
</file>

<file path=ppt/slides/_rels/slide8.xml.rels><?xml version="1.0" encoding="UTF-8" standalone="yes"?>
<Relationships xmlns="http://schemas.openxmlformats.org/package/2006/relationships"><Relationship Id="rId8" Type="http://schemas.openxmlformats.org/officeDocument/2006/relationships/hyperlink" Target="https://blogs.microsoft.com/blog/2024/01/09/walmart-unveils-new-generative-ai-powered-capabilities-for-shoppers-and-associates/" TargetMode="External"/><Relationship Id="rId3" Type="http://schemas.openxmlformats.org/officeDocument/2006/relationships/slide" Target="slide25.xml"/><Relationship Id="rId7" Type="http://schemas.openxmlformats.org/officeDocument/2006/relationships/image" Target="../media/image26.png"/><Relationship Id="rId2" Type="http://schemas.openxmlformats.org/officeDocument/2006/relationships/slide" Target="slide18.xml"/><Relationship Id="rId1" Type="http://schemas.openxmlformats.org/officeDocument/2006/relationships/slideLayout" Target="../slideLayouts/slideLayout4.xml"/><Relationship Id="rId6" Type="http://schemas.openxmlformats.org/officeDocument/2006/relationships/slide" Target="slide33.xml"/><Relationship Id="rId5" Type="http://schemas.openxmlformats.org/officeDocument/2006/relationships/slide" Target="slide26.xml"/><Relationship Id="rId10" Type="http://schemas.openxmlformats.org/officeDocument/2006/relationships/hyperlink" Target="https://www.microsoft.com/en/customers/story/19101-cdw-corporation-microsoft-365" TargetMode="External"/><Relationship Id="rId4" Type="http://schemas.openxmlformats.org/officeDocument/2006/relationships/slide" Target="slide23.xml"/><Relationship Id="rId9" Type="http://schemas.openxmlformats.org/officeDocument/2006/relationships/image" Target="../media/image27.jpeg"/></Relationships>
</file>

<file path=ppt/slides/_rels/slide9.xml.rels><?xml version="1.0" encoding="UTF-8" standalone="yes"?>
<Relationships xmlns="http://schemas.openxmlformats.org/package/2006/relationships"><Relationship Id="rId8" Type="http://schemas.openxmlformats.org/officeDocument/2006/relationships/hyperlink" Target="https://www.microsoft.com/en/customers/story/1558909662014453187-fashable-retail-azure?msockid=37bfc8b260486a8122a0dde861396b98" TargetMode="External"/><Relationship Id="rId3" Type="http://schemas.openxmlformats.org/officeDocument/2006/relationships/slide" Target="slide24.xml"/><Relationship Id="rId7" Type="http://schemas.openxmlformats.org/officeDocument/2006/relationships/slide" Target="slide22.xml"/><Relationship Id="rId2" Type="http://schemas.openxmlformats.org/officeDocument/2006/relationships/slide" Target="slide17.xml"/><Relationship Id="rId1" Type="http://schemas.openxmlformats.org/officeDocument/2006/relationships/slideLayout" Target="../slideLayouts/slideLayout4.xml"/><Relationship Id="rId6" Type="http://schemas.openxmlformats.org/officeDocument/2006/relationships/slide" Target="slide27.xml"/><Relationship Id="rId5" Type="http://schemas.openxmlformats.org/officeDocument/2006/relationships/slide" Target="slide20.xml"/><Relationship Id="rId4" Type="http://schemas.openxmlformats.org/officeDocument/2006/relationships/slide" Target="slide21.xml"/><Relationship Id="rId9"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89D0F5-AA0B-EC0F-9E3D-B696D4599A5F}"/>
              </a:ext>
            </a:extLst>
          </p:cNvPr>
          <p:cNvSpPr>
            <a:spLocks noGrp="1"/>
          </p:cNvSpPr>
          <p:nvPr>
            <p:ph type="title"/>
          </p:nvPr>
        </p:nvSpPr>
        <p:spPr>
          <a:xfrm>
            <a:off x="588263" y="2917984"/>
            <a:ext cx="4607851" cy="615553"/>
          </a:xfrm>
        </p:spPr>
        <p:txBody>
          <a:bodyPr/>
          <a:lstStyle/>
          <a:p>
            <a:r>
              <a:rPr lang="en-US" sz="4400" noProof="0">
                <a:gradFill>
                  <a:gsLst>
                    <a:gs pos="0">
                      <a:schemeClr val="tx1"/>
                    </a:gs>
                    <a:gs pos="100000">
                      <a:schemeClr val="tx1"/>
                    </a:gs>
                  </a:gsLst>
                  <a:lin ang="5400000" scaled="1"/>
                </a:gradFill>
                <a:cs typeface="Segoe UI"/>
              </a:rPr>
              <a:t>Microsoft Scenario Library</a:t>
            </a:r>
          </a:p>
        </p:txBody>
      </p:sp>
      <p:sp>
        <p:nvSpPr>
          <p:cNvPr id="5" name="Text Placeholder 4">
            <a:extLst>
              <a:ext uri="{FF2B5EF4-FFF2-40B4-BE49-F238E27FC236}">
                <a16:creationId xmlns:a16="http://schemas.microsoft.com/office/drawing/2014/main" id="{B5BC4E6E-DD38-ACDD-7EF4-A6DE1EAD6969}"/>
              </a:ext>
            </a:extLst>
          </p:cNvPr>
          <p:cNvSpPr>
            <a:spLocks noGrp="1"/>
          </p:cNvSpPr>
          <p:nvPr>
            <p:ph type="body" sz="quarter" idx="12"/>
          </p:nvPr>
        </p:nvSpPr>
        <p:spPr>
          <a:xfrm>
            <a:off x="582042" y="3962400"/>
            <a:ext cx="7752752" cy="307777"/>
          </a:xfrm>
        </p:spPr>
        <p:txBody>
          <a:bodyPr vert="horz" wrap="square" lIns="0" tIns="0" rIns="0" bIns="0" rtlCol="0" anchor="t">
            <a:spAutoFit/>
          </a:bodyPr>
          <a:lstStyle/>
          <a:p>
            <a:r>
              <a:rPr lang="en-US" sz="2000" noProof="0" dirty="0">
                <a:gradFill>
                  <a:gsLst>
                    <a:gs pos="0">
                      <a:schemeClr val="tx1"/>
                    </a:gs>
                    <a:gs pos="100000">
                      <a:schemeClr val="tx1"/>
                    </a:gs>
                  </a:gsLst>
                  <a:lin ang="5400000" scaled="1"/>
                </a:gradFill>
                <a:cs typeface="Segoe UI"/>
              </a:rPr>
              <a:t>Discover industry and role-based use cases</a:t>
            </a:r>
          </a:p>
        </p:txBody>
      </p:sp>
    </p:spTree>
    <p:extLst>
      <p:ext uri="{BB962C8B-B14F-4D97-AF65-F5344CB8AC3E}">
        <p14:creationId xmlns:p14="http://schemas.microsoft.com/office/powerpoint/2010/main" val="509023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C91AD8-4A77-2AE8-75D9-F3AFE793B2A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A23687-86C6-C1B0-0F89-E653857E6F4D}"/>
              </a:ext>
            </a:extLst>
          </p:cNvPr>
          <p:cNvSpPr>
            <a:spLocks noGrp="1"/>
          </p:cNvSpPr>
          <p:nvPr>
            <p:ph type="title"/>
          </p:nvPr>
        </p:nvSpPr>
        <p:spPr>
          <a:xfrm>
            <a:off x="588263" y="457200"/>
            <a:ext cx="11018520" cy="430887"/>
          </a:xfrm>
        </p:spPr>
        <p:txBody>
          <a:bodyPr/>
          <a:lstStyle/>
          <a:p>
            <a:r>
              <a:rPr kumimoji="0" lang="en-US" sz="2800" b="0" i="0" u="none" strike="noStrike" kern="1200" cap="none" spc="-10" normalizeH="0" baseline="0" noProof="0" dirty="0">
                <a:ln>
                  <a:noFill/>
                </a:ln>
                <a:effectLst/>
                <a:uLnTx/>
                <a:uFillTx/>
                <a:latin typeface="Segoe Sans Display Semibold"/>
                <a:ea typeface="+mn-ea"/>
                <a:cs typeface="Segoe UI" pitchFamily="34" charset="0"/>
              </a:rPr>
              <a:t>Drive efficiency through AI-assisted store associates</a:t>
            </a:r>
            <a:endParaRPr lang="en-US" sz="2800" noProof="0" dirty="0"/>
          </a:p>
        </p:txBody>
      </p:sp>
      <p:sp>
        <p:nvSpPr>
          <p:cNvPr id="16" name="Rounded Rectangle 53">
            <a:extLst>
              <a:ext uri="{FF2B5EF4-FFF2-40B4-BE49-F238E27FC236}">
                <a16:creationId xmlns:a16="http://schemas.microsoft.com/office/drawing/2014/main" id="{9A57240D-F0BE-70EA-EC2E-3D6939FFF950}"/>
              </a:ext>
            </a:extLst>
          </p:cNvPr>
          <p:cNvSpPr>
            <a:spLocks/>
          </p:cNvSpPr>
          <p:nvPr/>
        </p:nvSpPr>
        <p:spPr bwMode="auto">
          <a:xfrm>
            <a:off x="574011" y="1535740"/>
            <a:ext cx="10950215" cy="1015663"/>
          </a:xfrm>
          <a:prstGeom prst="roundRect">
            <a:avLst>
              <a:gd name="adj" fmla="val 6100"/>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t" anchorCtr="0" forceAA="0" compatLnSpc="1">
            <a:prstTxWarp prst="textNoShape">
              <a:avLst/>
            </a:prstTxWarp>
            <a:noAutofit/>
          </a:bodyPr>
          <a:lstStyle/>
          <a:p>
            <a:r>
              <a:rPr lang="en-US" sz="1200" b="0" i="0" dirty="0">
                <a:solidFill>
                  <a:srgbClr val="424242"/>
                </a:solidFill>
                <a:effectLst/>
                <a:latin typeface="Segoe Sans"/>
              </a:rPr>
              <a:t>AI can help enhance retail store operations by optimizing inventory management, improving customer satisfaction, and boosting sales conversion rates. It can also reduce employee turnover through better shift scheduling and optimize marketing spend by leveraging data analytics. Additionally, AI can personalize customer interactions, automate daily tasks, and enhance data security, driving long-term growth and efficiency for retail organizations.</a:t>
            </a:r>
            <a:endParaRPr kumimoji="0" lang="en-US" sz="1200" b="0" i="0" u="none" strike="noStrike" kern="1200" cap="none" spc="0" normalizeH="0" baseline="0" noProof="0" dirty="0">
              <a:ln>
                <a:noFill/>
              </a:ln>
              <a:solidFill>
                <a:srgbClr val="000000"/>
              </a:solidFill>
              <a:effectLst/>
              <a:uLnTx/>
              <a:uFillTx/>
              <a:latin typeface="Segoe UI"/>
              <a:ea typeface="+mn-ea"/>
              <a:cs typeface="Segoe UI Semilight"/>
            </a:endParaRPr>
          </a:p>
        </p:txBody>
      </p:sp>
      <p:sp>
        <p:nvSpPr>
          <p:cNvPr id="28" name="Rectangle: Top Corners Rounded 27">
            <a:extLst>
              <a:ext uri="{FF2B5EF4-FFF2-40B4-BE49-F238E27FC236}">
                <a16:creationId xmlns:a16="http://schemas.microsoft.com/office/drawing/2014/main" id="{918EB655-3B0F-D041-CEDE-4AAC417CA64B}"/>
              </a:ext>
            </a:extLst>
          </p:cNvPr>
          <p:cNvSpPr/>
          <p:nvPr/>
        </p:nvSpPr>
        <p:spPr bwMode="auto">
          <a:xfrm flipH="1">
            <a:off x="5185591" y="2686640"/>
            <a:ext cx="6338638"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n-ea"/>
                <a:cs typeface="Segoe UI Semibold" panose="020B0502040204020203" pitchFamily="34" charset="0"/>
              </a:rPr>
              <a:t>Use Cases</a:t>
            </a:r>
          </a:p>
        </p:txBody>
      </p:sp>
      <p:graphicFrame>
        <p:nvGraphicFramePr>
          <p:cNvPr id="4" name="Table 3">
            <a:extLst>
              <a:ext uri="{FF2B5EF4-FFF2-40B4-BE49-F238E27FC236}">
                <a16:creationId xmlns:a16="http://schemas.microsoft.com/office/drawing/2014/main" id="{4EA5ED04-AFE1-0C88-5AFA-431A49396FA6}"/>
              </a:ext>
            </a:extLst>
          </p:cNvPr>
          <p:cNvGraphicFramePr>
            <a:graphicFrameLocks noGrp="1"/>
          </p:cNvGraphicFramePr>
          <p:nvPr>
            <p:extLst>
              <p:ext uri="{D42A27DB-BD31-4B8C-83A1-F6EECF244321}">
                <p14:modId xmlns:p14="http://schemas.microsoft.com/office/powerpoint/2010/main" val="2599702623"/>
              </p:ext>
            </p:extLst>
          </p:nvPr>
        </p:nvGraphicFramePr>
        <p:xfrm>
          <a:off x="5185591" y="2994615"/>
          <a:ext cx="6338635" cy="2383682"/>
        </p:xfrm>
        <a:graphic>
          <a:graphicData uri="http://schemas.openxmlformats.org/drawingml/2006/table">
            <a:tbl>
              <a:tblPr firstRow="1" bandRow="1">
                <a:tableStyleId>{5C22544A-7EE6-4342-B048-85BDC9FD1C3A}</a:tableStyleId>
              </a:tblPr>
              <a:tblGrid>
                <a:gridCol w="1331082">
                  <a:extLst>
                    <a:ext uri="{9D8B030D-6E8A-4147-A177-3AD203B41FA5}">
                      <a16:colId xmlns:a16="http://schemas.microsoft.com/office/drawing/2014/main" val="541573232"/>
                    </a:ext>
                  </a:extLst>
                </a:gridCol>
                <a:gridCol w="1678510">
                  <a:extLst>
                    <a:ext uri="{9D8B030D-6E8A-4147-A177-3AD203B41FA5}">
                      <a16:colId xmlns:a16="http://schemas.microsoft.com/office/drawing/2014/main" val="213537445"/>
                    </a:ext>
                  </a:extLst>
                </a:gridCol>
                <a:gridCol w="1688435">
                  <a:extLst>
                    <a:ext uri="{9D8B030D-6E8A-4147-A177-3AD203B41FA5}">
                      <a16:colId xmlns:a16="http://schemas.microsoft.com/office/drawing/2014/main" val="4253899296"/>
                    </a:ext>
                  </a:extLst>
                </a:gridCol>
                <a:gridCol w="1640608">
                  <a:extLst>
                    <a:ext uri="{9D8B030D-6E8A-4147-A177-3AD203B41FA5}">
                      <a16:colId xmlns:a16="http://schemas.microsoft.com/office/drawing/2014/main" val="3573951510"/>
                    </a:ext>
                  </a:extLst>
                </a:gridCol>
              </a:tblGrid>
              <a:tr h="148205">
                <a:tc>
                  <a:txBody>
                    <a:bodyPr/>
                    <a:lstStyle/>
                    <a:p>
                      <a:pPr>
                        <a:lnSpc>
                          <a:spcPct val="100000"/>
                        </a:lnSpc>
                      </a:pPr>
                      <a:r>
                        <a:rPr lang="en-US" sz="1000" b="0" spc="0" noProof="0" dirty="0">
                          <a:solidFill>
                            <a:schemeClr val="accent3"/>
                          </a:solidFill>
                          <a:latin typeface="+mj-lt"/>
                        </a:rPr>
                        <a:t>Start</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spc="0" noProof="0">
                          <a:solidFill>
                            <a:schemeClr val="accent3"/>
                          </a:solidFill>
                          <a:latin typeface="+mj-lt"/>
                        </a:rPr>
                        <a:t>Buy</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spc="0" noProof="0">
                          <a:solidFill>
                            <a:schemeClr val="accent3"/>
                          </a:solidFill>
                          <a:latin typeface="+mj-lt"/>
                        </a:rPr>
                        <a:t>Extend</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spc="0" noProof="0">
                          <a:solidFill>
                            <a:schemeClr val="accent3"/>
                          </a:solidFill>
                          <a:latin typeface="+mj-lt"/>
                        </a:rPr>
                        <a:t>Build</a:t>
                      </a:r>
                    </a:p>
                  </a:txBody>
                  <a:tcPr marL="45720" marR="45720">
                    <a:lnL w="6350" cap="flat" cmpd="sng" algn="ctr">
                      <a:solidFill>
                        <a:schemeClr val="bg1">
                          <a:lumMod val="85000"/>
                        </a:schemeClr>
                      </a:solidFill>
                      <a:prstDash val="solid"/>
                      <a:round/>
                      <a:headEnd type="none" w="med" len="med"/>
                      <a:tailEnd type="none" w="med" len="med"/>
                    </a:lnL>
                    <a:lnR w="12700" cmpd="sng">
                      <a:noFill/>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0387161"/>
                  </a:ext>
                </a:extLst>
              </a:tr>
              <a:tr h="681742">
                <a:tc>
                  <a:txBody>
                    <a:bodyPr/>
                    <a:lstStyle/>
                    <a:p>
                      <a:pPr>
                        <a:lnSpc>
                          <a:spcPct val="100000"/>
                        </a:lnSpc>
                      </a:pPr>
                      <a:r>
                        <a:rPr lang="en-US" sz="1000" b="0" spc="0" noProof="0">
                          <a:solidFill>
                            <a:schemeClr val="tx1"/>
                          </a:solidFill>
                        </a:rPr>
                        <a:t>Use Copilot Chat to search for information, generate ideas, and summarize documents and analyze data.</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0" spc="0" noProof="0">
                          <a:solidFill>
                            <a:schemeClr val="tx1"/>
                          </a:solidFill>
                        </a:rPr>
                        <a:t>Use Microsoft 365 Copilot in the flow of work as a meeting assistant, to draft documents and emails, perform complex data analysis and provide guidance on completing tasks.</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0" spc="0" noProof="0">
                          <a:solidFill>
                            <a:schemeClr val="tx1"/>
                          </a:solidFill>
                        </a:rPr>
                        <a:t>Create agents that can serve as knowledge experts, both internally and with customers, and perform automated tasks. Interact with line of business applications through standard connectors and APIs.</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spc="0" noProof="0">
                          <a:solidFill>
                            <a:schemeClr val="tx1"/>
                          </a:solidFill>
                        </a:rPr>
                        <a:t>Create agents and apps that use AI and purpose-built LLMs to support automated process flows using custom integrations with line of business applications and databases.</a:t>
                      </a:r>
                    </a:p>
                  </a:txBody>
                  <a:tcPr marL="45720" marR="45720">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6934551"/>
                  </a:ext>
                </a:extLst>
              </a:tr>
              <a:tr h="676802">
                <a:tc>
                  <a:txBody>
                    <a:bodyPr/>
                    <a:lstStyle/>
                    <a:p>
                      <a:pPr marL="114300" indent="-114300">
                        <a:spcAft>
                          <a:spcPts val="200"/>
                        </a:spcAft>
                        <a:buClr>
                          <a:schemeClr val="tx1"/>
                        </a:buClr>
                        <a:buFont typeface="Arial" panose="020B0604020202020204" pitchFamily="34" charset="0"/>
                        <a:buChar cha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2" action="ppaction://hlinksldjump"/>
                        </a:rPr>
                        <a:t>Assist store managers</a:t>
                      </a:r>
                      <a:endParaRPr lang="en-US" sz="800" b="0" noProof="0" dirty="0">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marR="0" lvl="0" indent="-17145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3" action="ppaction://hlinksldjump"/>
                        </a:rPr>
                        <a:t>Improve store associate management</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4300" indent="-114300">
                        <a:spcAft>
                          <a:spcPts val="200"/>
                        </a:spcAft>
                        <a:buClr>
                          <a:schemeClr val="tx1"/>
                        </a:buClr>
                        <a:buFont typeface="Arial" panose="020B0604020202020204" pitchFamily="34" charset="0"/>
                        <a:buChar cha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4" action="ppaction://hlinksldjump"/>
                        </a:rPr>
                        <a:t>Assist store associates</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p>
                      <a:pPr marL="114300" indent="-114300">
                        <a:spcAft>
                          <a:spcPts val="200"/>
                        </a:spcAft>
                        <a:buClr>
                          <a:schemeClr val="tx1"/>
                        </a:buClr>
                        <a:buFont typeface="Arial" panose="020B0604020202020204" pitchFamily="34" charset="0"/>
                        <a:buChar cha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5" action="ppaction://hlinksldjump"/>
                        </a:rPr>
                        <a:t>Maximize store performance</a:t>
                      </a:r>
                      <a:endParaRPr lang="en-US" sz="800" b="0" noProof="0" dirty="0">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4300" indent="-114300">
                        <a:spcAft>
                          <a:spcPts val="200"/>
                        </a:spcAft>
                        <a:buClr>
                          <a:schemeClr val="tx1"/>
                        </a:buClr>
                        <a:buFont typeface="Arial" panose="020B0604020202020204" pitchFamily="34" charset="0"/>
                        <a:buChar cha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6" action="ppaction://hlinksldjump"/>
                        </a:rPr>
                        <a:t>Improve retail store operations</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7" action="ppaction://hlinksldjump"/>
                        </a:rPr>
                        <a:t>Improve customer service and info discovery</a:t>
                      </a:r>
                      <a:endParaRPr lang="en-US" sz="800" b="0" noProof="0" dirty="0">
                        <a:solidFill>
                          <a:schemeClr val="tx1"/>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11546431"/>
                  </a:ext>
                </a:extLst>
              </a:tr>
            </a:tbl>
          </a:graphicData>
        </a:graphic>
      </p:graphicFrame>
      <p:sp>
        <p:nvSpPr>
          <p:cNvPr id="5" name="Rectangle: Top Corners Rounded 4">
            <a:extLst>
              <a:ext uri="{FF2B5EF4-FFF2-40B4-BE49-F238E27FC236}">
                <a16:creationId xmlns:a16="http://schemas.microsoft.com/office/drawing/2014/main" id="{77BAB460-3C2E-5270-88A0-7BB069825E1F}"/>
              </a:ext>
            </a:extLst>
          </p:cNvPr>
          <p:cNvSpPr/>
          <p:nvPr/>
        </p:nvSpPr>
        <p:spPr bwMode="auto">
          <a:xfrm flipH="1">
            <a:off x="588263" y="2673131"/>
            <a:ext cx="4195182"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Customer stories</a:t>
            </a:r>
          </a:p>
        </p:txBody>
      </p:sp>
      <p:sp>
        <p:nvSpPr>
          <p:cNvPr id="8" name="Rectangle: Top Corners Rounded 7">
            <a:extLst>
              <a:ext uri="{FF2B5EF4-FFF2-40B4-BE49-F238E27FC236}">
                <a16:creationId xmlns:a16="http://schemas.microsoft.com/office/drawing/2014/main" id="{4242D790-4A15-E9B5-8027-8C7D091BA91B}"/>
              </a:ext>
            </a:extLst>
          </p:cNvPr>
          <p:cNvSpPr/>
          <p:nvPr/>
        </p:nvSpPr>
        <p:spPr bwMode="auto">
          <a:xfrm flipH="1">
            <a:off x="588263" y="1209733"/>
            <a:ext cx="10950215"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Description</a:t>
            </a:r>
          </a:p>
        </p:txBody>
      </p:sp>
      <p:sp>
        <p:nvSpPr>
          <p:cNvPr id="9" name="Rectangle: Top Corners Rounded 8">
            <a:extLst>
              <a:ext uri="{FF2B5EF4-FFF2-40B4-BE49-F238E27FC236}">
                <a16:creationId xmlns:a16="http://schemas.microsoft.com/office/drawing/2014/main" id="{FD406782-5112-DBCB-8381-C930B818F55D}"/>
              </a:ext>
            </a:extLst>
          </p:cNvPr>
          <p:cNvSpPr/>
          <p:nvPr/>
        </p:nvSpPr>
        <p:spPr bwMode="auto">
          <a:xfrm flipH="1">
            <a:off x="588261" y="4814428"/>
            <a:ext cx="1856763"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KPIs impacted</a:t>
            </a:r>
          </a:p>
        </p:txBody>
      </p:sp>
      <p:sp>
        <p:nvSpPr>
          <p:cNvPr id="12" name="TextBox 11">
            <a:extLst>
              <a:ext uri="{FF2B5EF4-FFF2-40B4-BE49-F238E27FC236}">
                <a16:creationId xmlns:a16="http://schemas.microsoft.com/office/drawing/2014/main" id="{6D47F595-B5DE-BE27-4283-357D28F5B7B4}"/>
              </a:ext>
            </a:extLst>
          </p:cNvPr>
          <p:cNvSpPr txBox="1"/>
          <p:nvPr/>
        </p:nvSpPr>
        <p:spPr>
          <a:xfrm>
            <a:off x="503230" y="5120712"/>
            <a:ext cx="1941795" cy="823302"/>
          </a:xfrm>
          <a:prstGeom prst="rect">
            <a:avLst/>
          </a:prstGeom>
          <a:noFill/>
        </p:spPr>
        <p:txBody>
          <a:bodyPr wrap="square">
            <a:spAutoFit/>
          </a:bodyPr>
          <a:lstStyle/>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Revenue per store</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Customer satisfaction</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Sales conversion rate</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Retail margin</a:t>
            </a:r>
          </a:p>
        </p:txBody>
      </p:sp>
      <p:sp>
        <p:nvSpPr>
          <p:cNvPr id="23" name="TextBox 22">
            <a:extLst>
              <a:ext uri="{FF2B5EF4-FFF2-40B4-BE49-F238E27FC236}">
                <a16:creationId xmlns:a16="http://schemas.microsoft.com/office/drawing/2014/main" id="{A80A12EF-66D1-6B48-63CA-7F8430221C31}"/>
              </a:ext>
            </a:extLst>
          </p:cNvPr>
          <p:cNvSpPr txBox="1"/>
          <p:nvPr/>
        </p:nvSpPr>
        <p:spPr>
          <a:xfrm>
            <a:off x="2837229" y="5120712"/>
            <a:ext cx="1856763" cy="823302"/>
          </a:xfrm>
          <a:prstGeom prst="rect">
            <a:avLst/>
          </a:prstGeom>
          <a:noFill/>
        </p:spPr>
        <p:txBody>
          <a:bodyPr wrap="square">
            <a:spAutoFit/>
          </a:bodyPr>
          <a:lstStyle/>
          <a:p>
            <a:pPr marL="171450" indent="-171450" defTabSz="932742">
              <a:spcAft>
                <a:spcPts val="300"/>
              </a:spcAft>
              <a:buFont typeface="Arial" panose="020B0604020202020204" pitchFamily="34" charset="0"/>
              <a:buChar char="•"/>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Store Manager</a:t>
            </a:r>
          </a:p>
          <a:p>
            <a:pPr marL="171450" indent="-171450" defTabSz="932742">
              <a:spcAft>
                <a:spcPts val="300"/>
              </a:spcAft>
              <a:buFont typeface="Arial" panose="020B0604020202020204" pitchFamily="34" charset="0"/>
              <a:buChar char="•"/>
              <a:defRPr/>
            </a:pPr>
            <a:r>
              <a:rPr lang="en-US" sz="1000" dirty="0">
                <a:solidFill>
                  <a:srgbClr val="000000"/>
                </a:solidFill>
                <a:latin typeface="Segoe UI"/>
                <a:cs typeface="Segoe UI"/>
              </a:rPr>
              <a:t>Store Associate</a:t>
            </a:r>
            <a:endParaRPr kumimoji="0" lang="en-US" sz="1000" b="0" i="0" u="none" strike="noStrike" kern="1200" cap="none" spc="0" normalizeH="0" baseline="0" noProof="0" dirty="0">
              <a:ln>
                <a:noFill/>
              </a:ln>
              <a:solidFill>
                <a:srgbClr val="000000"/>
              </a:solidFill>
              <a:effectLst/>
              <a:uLnTx/>
              <a:uFillTx/>
              <a:latin typeface="Segoe UI"/>
              <a:ea typeface="+mn-ea"/>
              <a:cs typeface="Segoe UI"/>
            </a:endParaRP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Merchandising Manager</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Finance Analyst</a:t>
            </a:r>
          </a:p>
        </p:txBody>
      </p:sp>
      <p:sp>
        <p:nvSpPr>
          <p:cNvPr id="24" name="Rectangle: Top Corners Rounded 23">
            <a:extLst>
              <a:ext uri="{FF2B5EF4-FFF2-40B4-BE49-F238E27FC236}">
                <a16:creationId xmlns:a16="http://schemas.microsoft.com/office/drawing/2014/main" id="{834467D6-F60C-BBEF-A8CA-9D202E089048}"/>
              </a:ext>
            </a:extLst>
          </p:cNvPr>
          <p:cNvSpPr/>
          <p:nvPr/>
        </p:nvSpPr>
        <p:spPr bwMode="auto">
          <a:xfrm flipH="1">
            <a:off x="2926682" y="4808450"/>
            <a:ext cx="1856763"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Roles impacted</a:t>
            </a:r>
          </a:p>
        </p:txBody>
      </p:sp>
      <p:pic>
        <p:nvPicPr>
          <p:cNvPr id="3" name="Picture 4" descr="Carmax Logo Download Vector">
            <a:extLst>
              <a:ext uri="{FF2B5EF4-FFF2-40B4-BE49-F238E27FC236}">
                <a16:creationId xmlns:a16="http://schemas.microsoft.com/office/drawing/2014/main" id="{EF46AA41-2B97-6DB5-C996-3668A3C2F2A5}"/>
              </a:ext>
            </a:extLst>
          </p:cNvPr>
          <p:cNvPicPr>
            <a:picLocks noChangeArrowheads="1"/>
          </p:cNvPicPr>
          <p:nvPr/>
        </p:nvPicPr>
        <p:blipFill rotWithShape="1">
          <a:blip r:embed="rId8">
            <a:extLst>
              <a:ext uri="{28A0092B-C50C-407E-A947-70E740481C1C}">
                <a14:useLocalDpi xmlns:a14="http://schemas.microsoft.com/office/drawing/2010/main" val="0"/>
              </a:ext>
            </a:extLst>
          </a:blip>
          <a:srcRect t="-9894" b="-9894"/>
          <a:stretch/>
        </p:blipFill>
        <p:spPr bwMode="auto">
          <a:xfrm>
            <a:off x="840068" y="3283445"/>
            <a:ext cx="1268118" cy="29706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18A3CE0D-D011-E3C7-A40C-C20A5FBA5326}"/>
              </a:ext>
            </a:extLst>
          </p:cNvPr>
          <p:cNvSpPr txBox="1"/>
          <p:nvPr/>
        </p:nvSpPr>
        <p:spPr>
          <a:xfrm>
            <a:off x="588261" y="3639903"/>
            <a:ext cx="1856763" cy="40011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Segoe UI"/>
              </a:defRPr>
            </a:lvl1pPr>
          </a:lstStyle>
          <a:p>
            <a:r>
              <a:rPr lang="en-US" dirty="0">
                <a:hlinkClick r:id="rId9"/>
              </a:rPr>
              <a:t>CarMax puts customers first with car research tools</a:t>
            </a:r>
            <a:endParaRPr lang="en-US" dirty="0"/>
          </a:p>
        </p:txBody>
      </p:sp>
      <p:pic>
        <p:nvPicPr>
          <p:cNvPr id="10" name="Picture 9" descr="A red triangle with white text&#10;&#10;Description automatically generated">
            <a:extLst>
              <a:ext uri="{FF2B5EF4-FFF2-40B4-BE49-F238E27FC236}">
                <a16:creationId xmlns:a16="http://schemas.microsoft.com/office/drawing/2014/main" id="{BBEDDFDA-048A-EA59-96AF-8659E1499F9F}"/>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3724917" y="3218606"/>
            <a:ext cx="476114" cy="411634"/>
          </a:xfrm>
          <a:prstGeom prst="rect">
            <a:avLst/>
          </a:prstGeom>
          <a:ln>
            <a:noFill/>
          </a:ln>
        </p:spPr>
      </p:pic>
      <p:sp>
        <p:nvSpPr>
          <p:cNvPr id="13" name="TextBox 12">
            <a:extLst>
              <a:ext uri="{FF2B5EF4-FFF2-40B4-BE49-F238E27FC236}">
                <a16:creationId xmlns:a16="http://schemas.microsoft.com/office/drawing/2014/main" id="{D50B3DC6-F301-6825-7984-9E3ABC401E47}"/>
              </a:ext>
            </a:extLst>
          </p:cNvPr>
          <p:cNvSpPr txBox="1"/>
          <p:nvPr/>
        </p:nvSpPr>
        <p:spPr>
          <a:xfrm>
            <a:off x="2936623" y="3643926"/>
            <a:ext cx="1846822" cy="553998"/>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Segoe UI"/>
              </a:defRPr>
            </a:lvl1pPr>
          </a:lstStyle>
          <a:p>
            <a:r>
              <a:rPr lang="en-US" dirty="0">
                <a:hlinkClick r:id="rId11"/>
              </a:rPr>
              <a:t>Canadian Tire Corporation uses AI to boost employee productivity</a:t>
            </a:r>
            <a:endParaRPr lang="en-US" dirty="0"/>
          </a:p>
        </p:txBody>
      </p:sp>
    </p:spTree>
    <p:extLst>
      <p:ext uri="{BB962C8B-B14F-4D97-AF65-F5344CB8AC3E}">
        <p14:creationId xmlns:p14="http://schemas.microsoft.com/office/powerpoint/2010/main" val="182418833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6D13F2-3D4B-4D46-2B3D-D02C95ED4DC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C0BD88-E6B3-DC89-08A7-84A3E59CFBD2}"/>
              </a:ext>
            </a:extLst>
          </p:cNvPr>
          <p:cNvSpPr>
            <a:spLocks noGrp="1"/>
          </p:cNvSpPr>
          <p:nvPr>
            <p:ph type="title"/>
          </p:nvPr>
        </p:nvSpPr>
        <p:spPr/>
        <p:txBody>
          <a:bodyPr/>
          <a:lstStyle/>
          <a:p>
            <a:r>
              <a:rPr lang="en-US" sz="3600" noProof="0" dirty="0">
                <a:latin typeface="Segoe UI Semibold" panose="020B0702040204020203" pitchFamily="34" charset="0"/>
                <a:cs typeface="Segoe UI Semibold" panose="020B0702040204020203" pitchFamily="34" charset="0"/>
              </a:rPr>
              <a:t>KPI – </a:t>
            </a:r>
            <a:r>
              <a:rPr lang="en-US" sz="3600" noProof="0" dirty="0">
                <a:gradFill>
                  <a:gsLst>
                    <a:gs pos="38000">
                      <a:srgbClr val="0078D4"/>
                    </a:gs>
                    <a:gs pos="0">
                      <a:srgbClr val="C03BC4"/>
                    </a:gs>
                  </a:gsLst>
                  <a:path path="circle">
                    <a:fillToRect l="100000" t="100000"/>
                  </a:path>
                </a:gradFill>
                <a:latin typeface="Segoe UI Semibold" panose="020B0702040204020203" pitchFamily="34" charset="0"/>
                <a:cs typeface="Segoe UI Semibold" panose="020B0702040204020203" pitchFamily="34" charset="0"/>
              </a:rPr>
              <a:t>Revenue per store</a:t>
            </a:r>
          </a:p>
        </p:txBody>
      </p:sp>
      <p:sp>
        <p:nvSpPr>
          <p:cNvPr id="7" name="Rectangle: Rounded Corners 81">
            <a:extLst>
              <a:ext uri="{FF2B5EF4-FFF2-40B4-BE49-F238E27FC236}">
                <a16:creationId xmlns:a16="http://schemas.microsoft.com/office/drawing/2014/main" id="{9E1609CB-BDDF-9866-6DA8-B06E6199D2D9}"/>
              </a:ext>
              <a:ext uri="{C183D7F6-B498-43B3-948B-1728B52AA6E4}">
                <adec:decorative xmlns:adec="http://schemas.microsoft.com/office/drawing/2017/decorative" val="1"/>
              </a:ext>
            </a:extLst>
          </p:cNvPr>
          <p:cNvSpPr>
            <a:spLocks/>
          </p:cNvSpPr>
          <p:nvPr/>
        </p:nvSpPr>
        <p:spPr bwMode="auto">
          <a:xfrm>
            <a:off x="571500" y="1187448"/>
            <a:ext cx="11017250" cy="5161779"/>
          </a:xfrm>
          <a:prstGeom prst="roundRect">
            <a:avLst>
              <a:gd name="adj" fmla="val 3245"/>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8" name="Rounded Rectangle 53">
            <a:extLst>
              <a:ext uri="{FF2B5EF4-FFF2-40B4-BE49-F238E27FC236}">
                <a16:creationId xmlns:a16="http://schemas.microsoft.com/office/drawing/2014/main" id="{9F6D414B-EF27-A1C7-67F3-D77666C3053F}"/>
              </a:ext>
            </a:extLst>
          </p:cNvPr>
          <p:cNvSpPr>
            <a:spLocks/>
          </p:cNvSpPr>
          <p:nvPr/>
        </p:nvSpPr>
        <p:spPr bwMode="auto">
          <a:xfrm>
            <a:off x="662940" y="4061815"/>
            <a:ext cx="5670614" cy="2195972"/>
          </a:xfrm>
          <a:prstGeom prst="roundRect">
            <a:avLst>
              <a:gd name="adj" fmla="val 4803"/>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w="3175">
                  <a:noFill/>
                </a:ln>
                <a:gradFill flip="none" rotWithShape="1">
                  <a:gsLst>
                    <a:gs pos="51000">
                      <a:srgbClr val="0078D4"/>
                    </a:gs>
                    <a:gs pos="0">
                      <a:srgbClr val="C03BC4"/>
                    </a:gs>
                  </a:gsLst>
                  <a:lin ang="13500000" scaled="1"/>
                  <a:tileRect/>
                </a:gradFill>
                <a:effectLst/>
                <a:uLnTx/>
                <a:uFillTx/>
                <a:latin typeface="Segoe UI Semibold"/>
                <a:ea typeface="+mn-ea"/>
                <a:cs typeface="Segoe UI" pitchFamily="34" charset="0"/>
              </a:rPr>
              <a:t>How AI can help increase revenue per store</a:t>
            </a:r>
          </a:p>
        </p:txBody>
      </p:sp>
      <p:sp>
        <p:nvSpPr>
          <p:cNvPr id="9" name="Rectangle: Rounded Corners 8">
            <a:extLst>
              <a:ext uri="{FF2B5EF4-FFF2-40B4-BE49-F238E27FC236}">
                <a16:creationId xmlns:a16="http://schemas.microsoft.com/office/drawing/2014/main" id="{E24F6FA2-9144-32F5-03D8-737382E26AF6}"/>
              </a:ext>
            </a:extLst>
          </p:cNvPr>
          <p:cNvSpPr/>
          <p:nvPr/>
        </p:nvSpPr>
        <p:spPr bwMode="auto">
          <a:xfrm>
            <a:off x="763523" y="4526250"/>
            <a:ext cx="2603689" cy="337850"/>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6576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flip="none" rotWithShape="1">
                  <a:gsLst>
                    <a:gs pos="51000">
                      <a:srgbClr val="0078D4"/>
                    </a:gs>
                    <a:gs pos="0">
                      <a:srgbClr val="C03BC4"/>
                    </a:gs>
                  </a:gsLst>
                  <a:lin ang="13500000" scaled="1"/>
                  <a:tileRect/>
                </a:gradFill>
                <a:effectLst/>
                <a:uLnTx/>
                <a:uFillTx/>
                <a:latin typeface="Segoe UI Semibold"/>
                <a:ea typeface="+mn-ea"/>
                <a:cs typeface="Segoe UI Semilight"/>
              </a:rPr>
              <a:t>Improve targeting</a:t>
            </a:r>
          </a:p>
        </p:txBody>
      </p:sp>
      <p:sp>
        <p:nvSpPr>
          <p:cNvPr id="10" name="Rectangle: Rounded Corners 9">
            <a:extLst>
              <a:ext uri="{FF2B5EF4-FFF2-40B4-BE49-F238E27FC236}">
                <a16:creationId xmlns:a16="http://schemas.microsoft.com/office/drawing/2014/main" id="{F6C65630-AC32-E533-B685-9541840928A7}"/>
              </a:ext>
            </a:extLst>
          </p:cNvPr>
          <p:cNvSpPr/>
          <p:nvPr/>
        </p:nvSpPr>
        <p:spPr bwMode="auto">
          <a:xfrm>
            <a:off x="3629283" y="4504737"/>
            <a:ext cx="2603689" cy="476726"/>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flip="none" rotWithShape="1">
                  <a:gsLst>
                    <a:gs pos="51000">
                      <a:srgbClr val="0078D4"/>
                    </a:gs>
                    <a:gs pos="0">
                      <a:srgbClr val="C03BC4"/>
                    </a:gs>
                  </a:gsLst>
                  <a:lin ang="13500000" scaled="1"/>
                  <a:tileRect/>
                </a:gradFill>
                <a:effectLst/>
                <a:uLnTx/>
                <a:uFillTx/>
                <a:latin typeface="Segoe UI Semibold"/>
                <a:ea typeface="+mn-ea"/>
                <a:cs typeface="Segoe UI Semilight"/>
              </a:rPr>
              <a:t>Improve quality of marketing materials</a:t>
            </a:r>
          </a:p>
        </p:txBody>
      </p:sp>
      <p:pic>
        <p:nvPicPr>
          <p:cNvPr id="12" name="Picture 11" descr="Photo of sales meeting">
            <a:extLst>
              <a:ext uri="{FF2B5EF4-FFF2-40B4-BE49-F238E27FC236}">
                <a16:creationId xmlns:a16="http://schemas.microsoft.com/office/drawing/2014/main" id="{7A155FC2-E371-7F1C-33D3-117381B8572F}"/>
              </a:ext>
            </a:extLst>
          </p:cNvPr>
          <p:cNvPicPr>
            <a:picLocks/>
          </p:cNvPicPr>
          <p:nvPr/>
        </p:nvPicPr>
        <p:blipFill rotWithShape="1">
          <a:blip r:embed="rId2" cstate="screen">
            <a:extLst>
              <a:ext uri="{28A0092B-C50C-407E-A947-70E740481C1C}">
                <a14:useLocalDpi xmlns:a14="http://schemas.microsoft.com/office/drawing/2010/main"/>
              </a:ext>
            </a:extLst>
          </a:blip>
          <a:srcRect l="19173" r="10691"/>
          <a:stretch/>
        </p:blipFill>
        <p:spPr>
          <a:xfrm>
            <a:off x="662939" y="1278888"/>
            <a:ext cx="5670614" cy="1908701"/>
          </a:xfrm>
          <a:prstGeom prst="roundRect">
            <a:avLst>
              <a:gd name="adj" fmla="val 5305"/>
            </a:avLst>
          </a:prstGeom>
          <a:solidFill>
            <a:schemeClr val="bg1">
              <a:alpha val="70000"/>
            </a:schemeClr>
          </a:solidFill>
          <a:ln w="6350">
            <a:solidFill>
              <a:schemeClr val="bg1">
                <a:lumMod val="95000"/>
              </a:schemeClr>
            </a:solidFill>
          </a:ln>
          <a:effectLst/>
        </p:spPr>
      </p:pic>
      <p:sp>
        <p:nvSpPr>
          <p:cNvPr id="13" name="Text Placeholder 33">
            <a:extLst>
              <a:ext uri="{FF2B5EF4-FFF2-40B4-BE49-F238E27FC236}">
                <a16:creationId xmlns:a16="http://schemas.microsoft.com/office/drawing/2014/main" id="{AE0CD5CE-1DBF-D2A1-7D22-BA4F88002147}"/>
              </a:ext>
            </a:extLst>
          </p:cNvPr>
          <p:cNvSpPr txBox="1">
            <a:spLocks/>
          </p:cNvSpPr>
          <p:nvPr/>
        </p:nvSpPr>
        <p:spPr>
          <a:xfrm>
            <a:off x="662939" y="3274895"/>
            <a:ext cx="5670614" cy="738664"/>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Revenue per store (or revenue per square foot) is a crucial metric that Retailers use to evaluate the financial performance of their stores. By measuring the amount of revenue generated per unit of selling space, retailers can assess the effectiveness of their store layout, product assortment, and overall business strategy.</a:t>
            </a:r>
          </a:p>
        </p:txBody>
      </p:sp>
      <p:sp>
        <p:nvSpPr>
          <p:cNvPr id="14" name="TextBox 13">
            <a:extLst>
              <a:ext uri="{FF2B5EF4-FFF2-40B4-BE49-F238E27FC236}">
                <a16:creationId xmlns:a16="http://schemas.microsoft.com/office/drawing/2014/main" id="{35663C0B-B77B-CD39-D06B-9321CB42B15F}"/>
              </a:ext>
            </a:extLst>
          </p:cNvPr>
          <p:cNvSpPr txBox="1"/>
          <p:nvPr/>
        </p:nvSpPr>
        <p:spPr>
          <a:xfrm>
            <a:off x="763523" y="4959950"/>
            <a:ext cx="2603689" cy="338554"/>
          </a:xfrm>
          <a:prstGeom prst="rect">
            <a:avLst/>
          </a:prstGeom>
          <a:noFill/>
        </p:spPr>
        <p:txBody>
          <a:bodyPr wrap="square" lIns="0" tIns="0" rIns="0" bIns="0">
            <a:spAutoFit/>
          </a:bodyPr>
          <a:lstStyle/>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nalyze current product mix and cross sell success</a:t>
            </a:r>
          </a:p>
        </p:txBody>
      </p:sp>
      <p:sp>
        <p:nvSpPr>
          <p:cNvPr id="15" name="TextBox 14">
            <a:extLst>
              <a:ext uri="{FF2B5EF4-FFF2-40B4-BE49-F238E27FC236}">
                <a16:creationId xmlns:a16="http://schemas.microsoft.com/office/drawing/2014/main" id="{45600534-9F03-27ED-EA0B-27CD45264D3E}"/>
              </a:ext>
            </a:extLst>
          </p:cNvPr>
          <p:cNvSpPr txBox="1"/>
          <p:nvPr/>
        </p:nvSpPr>
        <p:spPr>
          <a:xfrm>
            <a:off x="3629283" y="5075302"/>
            <a:ext cx="2603689" cy="338554"/>
          </a:xfrm>
          <a:prstGeom prst="rect">
            <a:avLst/>
          </a:prstGeom>
          <a:noFill/>
        </p:spPr>
        <p:txBody>
          <a:bodyPr wrap="square" lIns="0" tIns="0" rIns="0" bIns="0">
            <a:spAutoFit/>
          </a:bodyPr>
          <a:lstStyle/>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mprove marketing content with clear value propositions</a:t>
            </a:r>
          </a:p>
        </p:txBody>
      </p:sp>
      <p:sp>
        <p:nvSpPr>
          <p:cNvPr id="20" name="Rounded Rectangle 53">
            <a:extLst>
              <a:ext uri="{FF2B5EF4-FFF2-40B4-BE49-F238E27FC236}">
                <a16:creationId xmlns:a16="http://schemas.microsoft.com/office/drawing/2014/main" id="{9C26A1D9-5EF8-05BC-6778-3C6BAFE49FA3}"/>
              </a:ext>
            </a:extLst>
          </p:cNvPr>
          <p:cNvSpPr>
            <a:spLocks/>
          </p:cNvSpPr>
          <p:nvPr/>
        </p:nvSpPr>
        <p:spPr bwMode="auto">
          <a:xfrm>
            <a:off x="6424994" y="1278888"/>
            <a:ext cx="5072316" cy="4978899"/>
          </a:xfrm>
          <a:prstGeom prst="roundRect">
            <a:avLst>
              <a:gd name="adj" fmla="val 2006"/>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flip="none" rotWithShape="1">
                <a:gsLst>
                  <a:gs pos="37000">
                    <a:srgbClr val="0078D4"/>
                  </a:gs>
                  <a:gs pos="100000">
                    <a:srgbClr val="C03BC4"/>
                  </a:gs>
                </a:gsLst>
                <a:path path="circle">
                  <a:fillToRect r="100000" b="100000"/>
                </a:path>
                <a:tileRect l="-100000" t="-100000"/>
              </a:gradFill>
              <a:effectLst/>
              <a:uLnTx/>
              <a:uFillTx/>
              <a:latin typeface="Segoe UI Semibold"/>
              <a:ea typeface="+mn-ea"/>
              <a:cs typeface="+mn-cs"/>
            </a:endParaRPr>
          </a:p>
        </p:txBody>
      </p:sp>
      <p:sp>
        <p:nvSpPr>
          <p:cNvPr id="21" name="Rectangle: Rounded Corners 20">
            <a:extLst>
              <a:ext uri="{FF2B5EF4-FFF2-40B4-BE49-F238E27FC236}">
                <a16:creationId xmlns:a16="http://schemas.microsoft.com/office/drawing/2014/main" id="{142CBD4C-283F-C128-4761-30E86B982808}"/>
              </a:ext>
            </a:extLst>
          </p:cNvPr>
          <p:cNvSpPr>
            <a:spLocks/>
          </p:cNvSpPr>
          <p:nvPr/>
        </p:nvSpPr>
        <p:spPr bwMode="auto">
          <a:xfrm>
            <a:off x="6527800" y="1370328"/>
            <a:ext cx="4866704" cy="401322"/>
          </a:xfrm>
          <a:prstGeom prst="roundRect">
            <a:avLst>
              <a:gd name="adj" fmla="val 2072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flip="none" rotWithShape="1">
                  <a:gsLst>
                    <a:gs pos="0">
                      <a:srgbClr val="C03BC4"/>
                    </a:gs>
                    <a:gs pos="56000">
                      <a:srgbClr val="0078D4"/>
                    </a:gs>
                  </a:gsLst>
                  <a:lin ang="13500000" scaled="1"/>
                  <a:tileRect/>
                </a:gradFill>
                <a:effectLst/>
                <a:uLnTx/>
                <a:uFillTx/>
                <a:latin typeface="Segoe UI Semibold"/>
                <a:ea typeface="+mn-ea"/>
                <a:cs typeface="Segoe UI Semilight"/>
              </a:rPr>
              <a:t>Value Calculation</a:t>
            </a:r>
          </a:p>
        </p:txBody>
      </p:sp>
      <p:sp>
        <p:nvSpPr>
          <p:cNvPr id="22" name="TextBox 21">
            <a:extLst>
              <a:ext uri="{FF2B5EF4-FFF2-40B4-BE49-F238E27FC236}">
                <a16:creationId xmlns:a16="http://schemas.microsoft.com/office/drawing/2014/main" id="{77B6F0B3-39A4-3224-DA74-F7B5B1CFE3A1}"/>
              </a:ext>
            </a:extLst>
          </p:cNvPr>
          <p:cNvSpPr txBox="1">
            <a:spLocks/>
          </p:cNvSpPr>
          <p:nvPr/>
        </p:nvSpPr>
        <p:spPr>
          <a:xfrm>
            <a:off x="6528482" y="1924744"/>
            <a:ext cx="4865340" cy="1000274"/>
          </a:xfrm>
          <a:prstGeom prst="rect">
            <a:avLst/>
          </a:prstGeom>
          <a:noFill/>
        </p:spPr>
        <p:txBody>
          <a:bodyPr wrap="square" lIns="0" tIns="0" rIns="0" bIns="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Determine the revenue generated: </a:t>
            </a:r>
            <a:r>
              <a:rPr kumimoji="0" lang="en-US" sz="1100" b="0" i="0" u="none" strike="noStrike" kern="1200" cap="none" spc="0" normalizeH="0" baseline="0" noProof="0">
                <a:ln>
                  <a:noFill/>
                </a:ln>
                <a:solidFill>
                  <a:srgbClr val="000000"/>
                </a:solidFill>
                <a:effectLst/>
                <a:uLnTx/>
                <a:uFillTx/>
                <a:latin typeface="Segoe UI"/>
                <a:ea typeface="+mn-ea"/>
                <a:cs typeface="+mn-cs"/>
              </a:rPr>
              <a:t>Use revenue for a specific time period like day, month, or year.</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Divide the revenue by the unit: </a:t>
            </a:r>
            <a:r>
              <a:rPr kumimoji="0" lang="en-US" sz="1100" b="0" i="0" u="none" strike="noStrike" kern="1200" cap="none" spc="0" normalizeH="0" baseline="0" noProof="0">
                <a:ln>
                  <a:noFill/>
                </a:ln>
                <a:solidFill>
                  <a:srgbClr val="000000"/>
                </a:solidFill>
                <a:effectLst/>
                <a:uLnTx/>
                <a:uFillTx/>
                <a:latin typeface="Segoe UI"/>
                <a:ea typeface="+mn-ea"/>
                <a:cs typeface="+mn-cs"/>
              </a:rPr>
              <a:t>Use store, square feet, square meters, etc.</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Using a measure of revenue per unit area can help to compare across different sizes of stores.</a:t>
            </a:r>
          </a:p>
        </p:txBody>
      </p:sp>
      <p:sp>
        <p:nvSpPr>
          <p:cNvPr id="23" name="Graphic 40">
            <a:extLst>
              <a:ext uri="{FF2B5EF4-FFF2-40B4-BE49-F238E27FC236}">
                <a16:creationId xmlns:a16="http://schemas.microsoft.com/office/drawing/2014/main" id="{74CF8FD7-E0F2-8035-EAB3-172CF19BF528}"/>
              </a:ext>
            </a:extLst>
          </p:cNvPr>
          <p:cNvSpPr/>
          <p:nvPr/>
        </p:nvSpPr>
        <p:spPr>
          <a:xfrm>
            <a:off x="6610350" y="1476092"/>
            <a:ext cx="210860" cy="189794"/>
          </a:xfrm>
          <a:custGeom>
            <a:avLst/>
            <a:gdLst>
              <a:gd name="connsiteX0" fmla="*/ 152390 w 190480"/>
              <a:gd name="connsiteY0" fmla="*/ 0 h 171450"/>
              <a:gd name="connsiteX1" fmla="*/ 158153 w 190480"/>
              <a:gd name="connsiteY1" fmla="*/ 2915 h 171450"/>
              <a:gd name="connsiteX2" fmla="*/ 158677 w 190480"/>
              <a:gd name="connsiteY2" fmla="*/ 3743 h 171450"/>
              <a:gd name="connsiteX3" fmla="*/ 189757 w 190480"/>
              <a:gd name="connsiteY3" fmla="*/ 61160 h 171450"/>
              <a:gd name="connsiteX4" fmla="*/ 190119 w 190480"/>
              <a:gd name="connsiteY4" fmla="*/ 62046 h 171450"/>
              <a:gd name="connsiteX5" fmla="*/ 190233 w 190480"/>
              <a:gd name="connsiteY5" fmla="*/ 62427 h 171450"/>
              <a:gd name="connsiteX6" fmla="*/ 190424 w 190480"/>
              <a:gd name="connsiteY6" fmla="*/ 63398 h 171450"/>
              <a:gd name="connsiteX7" fmla="*/ 190481 w 190480"/>
              <a:gd name="connsiteY7" fmla="*/ 64294 h 171450"/>
              <a:gd name="connsiteX8" fmla="*/ 190224 w 190480"/>
              <a:gd name="connsiteY8" fmla="*/ 66199 h 171450"/>
              <a:gd name="connsiteX9" fmla="*/ 189776 w 190480"/>
              <a:gd name="connsiteY9" fmla="*/ 67389 h 171450"/>
              <a:gd name="connsiteX10" fmla="*/ 189414 w 190480"/>
              <a:gd name="connsiteY10" fmla="*/ 68047 h 171450"/>
              <a:gd name="connsiteX11" fmla="*/ 188700 w 190480"/>
              <a:gd name="connsiteY11" fmla="*/ 69018 h 171450"/>
              <a:gd name="connsiteX12" fmla="*/ 189271 w 190480"/>
              <a:gd name="connsiteY12" fmla="*/ 68275 h 171450"/>
              <a:gd name="connsiteX13" fmla="*/ 189033 w 190480"/>
              <a:gd name="connsiteY13" fmla="*/ 68609 h 171450"/>
              <a:gd name="connsiteX14" fmla="*/ 100927 w 190480"/>
              <a:gd name="connsiteY14" fmla="*/ 168669 h 171450"/>
              <a:gd name="connsiteX15" fmla="*/ 98098 w 190480"/>
              <a:gd name="connsiteY15" fmla="*/ 170879 h 171450"/>
              <a:gd name="connsiteX16" fmla="*/ 97165 w 190480"/>
              <a:gd name="connsiteY16" fmla="*/ 171193 h 171450"/>
              <a:gd name="connsiteX17" fmla="*/ 96422 w 190480"/>
              <a:gd name="connsiteY17" fmla="*/ 171355 h 171450"/>
              <a:gd name="connsiteX18" fmla="*/ 95250 w 190480"/>
              <a:gd name="connsiteY18" fmla="*/ 171450 h 171450"/>
              <a:gd name="connsiteX19" fmla="*/ 94298 w 190480"/>
              <a:gd name="connsiteY19" fmla="*/ 171393 h 171450"/>
              <a:gd name="connsiteX20" fmla="*/ 93174 w 190480"/>
              <a:gd name="connsiteY20" fmla="*/ 171145 h 171450"/>
              <a:gd name="connsiteX21" fmla="*/ 91516 w 190480"/>
              <a:gd name="connsiteY21" fmla="*/ 170421 h 171450"/>
              <a:gd name="connsiteX22" fmla="*/ 91430 w 190480"/>
              <a:gd name="connsiteY22" fmla="*/ 170355 h 171450"/>
              <a:gd name="connsiteX23" fmla="*/ 90192 w 190480"/>
              <a:gd name="connsiteY23" fmla="*/ 169364 h 171450"/>
              <a:gd name="connsiteX24" fmla="*/ 1705 w 190480"/>
              <a:gd name="connsiteY24" fmla="*/ 68913 h 171450"/>
              <a:gd name="connsiteX25" fmla="*/ 1457 w 190480"/>
              <a:gd name="connsiteY25" fmla="*/ 68609 h 171450"/>
              <a:gd name="connsiteX26" fmla="*/ 1076 w 190480"/>
              <a:gd name="connsiteY26" fmla="*/ 68047 h 171450"/>
              <a:gd name="connsiteX27" fmla="*/ 67 w 190480"/>
              <a:gd name="connsiteY27" fmla="*/ 65180 h 171450"/>
              <a:gd name="connsiteX28" fmla="*/ 0 w 190480"/>
              <a:gd name="connsiteY28" fmla="*/ 64294 h 171450"/>
              <a:gd name="connsiteX29" fmla="*/ 29 w 190480"/>
              <a:gd name="connsiteY29" fmla="*/ 63665 h 171450"/>
              <a:gd name="connsiteX30" fmla="*/ 152 w 190480"/>
              <a:gd name="connsiteY30" fmla="*/ 62817 h 171450"/>
              <a:gd name="connsiteX31" fmla="*/ 381 w 190480"/>
              <a:gd name="connsiteY31" fmla="*/ 61998 h 171450"/>
              <a:gd name="connsiteX32" fmla="*/ 591 w 190480"/>
              <a:gd name="connsiteY32" fmla="*/ 61436 h 171450"/>
              <a:gd name="connsiteX33" fmla="*/ 857 w 190480"/>
              <a:gd name="connsiteY33" fmla="*/ 60893 h 171450"/>
              <a:gd name="connsiteX34" fmla="*/ 31814 w 190480"/>
              <a:gd name="connsiteY34" fmla="*/ 3743 h 171450"/>
              <a:gd name="connsiteX35" fmla="*/ 37119 w 190480"/>
              <a:gd name="connsiteY35" fmla="*/ 67 h 171450"/>
              <a:gd name="connsiteX36" fmla="*/ 38090 w 190480"/>
              <a:gd name="connsiteY36" fmla="*/ 0 h 171450"/>
              <a:gd name="connsiteX37" fmla="*/ 152390 w 190480"/>
              <a:gd name="connsiteY37" fmla="*/ 0 h 171450"/>
              <a:gd name="connsiteX38" fmla="*/ 123796 w 190480"/>
              <a:gd name="connsiteY38" fmla="*/ 71438 h 171450"/>
              <a:gd name="connsiteX39" fmla="*/ 66656 w 190480"/>
              <a:gd name="connsiteY39" fmla="*/ 71438 h 171450"/>
              <a:gd name="connsiteX40" fmla="*/ 95231 w 190480"/>
              <a:gd name="connsiteY40" fmla="*/ 144656 h 171450"/>
              <a:gd name="connsiteX41" fmla="*/ 123796 w 190480"/>
              <a:gd name="connsiteY41" fmla="*/ 71438 h 171450"/>
              <a:gd name="connsiteX42" fmla="*/ 51330 w 190480"/>
              <a:gd name="connsiteY42" fmla="*/ 71438 h 171450"/>
              <a:gd name="connsiteX43" fmla="*/ 22946 w 190480"/>
              <a:gd name="connsiteY43" fmla="*/ 71438 h 171450"/>
              <a:gd name="connsiteX44" fmla="*/ 73914 w 190480"/>
              <a:gd name="connsiteY44" fmla="*/ 129292 h 171450"/>
              <a:gd name="connsiteX45" fmla="*/ 51330 w 190480"/>
              <a:gd name="connsiteY45" fmla="*/ 71438 h 171450"/>
              <a:gd name="connsiteX46" fmla="*/ 167516 w 190480"/>
              <a:gd name="connsiteY46" fmla="*/ 71438 h 171450"/>
              <a:gd name="connsiteX47" fmla="*/ 139141 w 190480"/>
              <a:gd name="connsiteY47" fmla="*/ 71438 h 171450"/>
              <a:gd name="connsiteX48" fmla="*/ 116586 w 190480"/>
              <a:gd name="connsiteY48" fmla="*/ 129254 h 171450"/>
              <a:gd name="connsiteX49" fmla="*/ 167516 w 190480"/>
              <a:gd name="connsiteY49" fmla="*/ 71438 h 171450"/>
              <a:gd name="connsiteX50" fmla="*/ 66399 w 190480"/>
              <a:gd name="connsiteY50" fmla="*/ 14288 h 171450"/>
              <a:gd name="connsiteX51" fmla="*/ 42339 w 190480"/>
              <a:gd name="connsiteY51" fmla="*/ 14288 h 171450"/>
              <a:gd name="connsiteX52" fmla="*/ 19117 w 190480"/>
              <a:gd name="connsiteY52" fmla="*/ 57150 h 171450"/>
              <a:gd name="connsiteX53" fmla="*/ 52683 w 190480"/>
              <a:gd name="connsiteY53" fmla="*/ 57150 h 171450"/>
              <a:gd name="connsiteX54" fmla="*/ 66399 w 190480"/>
              <a:gd name="connsiteY54" fmla="*/ 14288 h 171450"/>
              <a:gd name="connsiteX55" fmla="*/ 109071 w 190480"/>
              <a:gd name="connsiteY55" fmla="*/ 14288 h 171450"/>
              <a:gd name="connsiteX56" fmla="*/ 81401 w 190480"/>
              <a:gd name="connsiteY56" fmla="*/ 14288 h 171450"/>
              <a:gd name="connsiteX57" fmla="*/ 67675 w 190480"/>
              <a:gd name="connsiteY57" fmla="*/ 57150 h 171450"/>
              <a:gd name="connsiteX58" fmla="*/ 122777 w 190480"/>
              <a:gd name="connsiteY58" fmla="*/ 57150 h 171450"/>
              <a:gd name="connsiteX59" fmla="*/ 109061 w 190480"/>
              <a:gd name="connsiteY59" fmla="*/ 14288 h 171450"/>
              <a:gd name="connsiteX60" fmla="*/ 148123 w 190480"/>
              <a:gd name="connsiteY60" fmla="*/ 14288 h 171450"/>
              <a:gd name="connsiteX61" fmla="*/ 124073 w 190480"/>
              <a:gd name="connsiteY61" fmla="*/ 14288 h 171450"/>
              <a:gd name="connsiteX62" fmla="*/ 137789 w 190480"/>
              <a:gd name="connsiteY62" fmla="*/ 57150 h 171450"/>
              <a:gd name="connsiteX63" fmla="*/ 171336 w 190480"/>
              <a:gd name="connsiteY63" fmla="*/ 57150 h 171450"/>
              <a:gd name="connsiteX64" fmla="*/ 148133 w 190480"/>
              <a:gd name="connsiteY64" fmla="*/ 14288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90480" h="171450">
                <a:moveTo>
                  <a:pt x="152390" y="0"/>
                </a:moveTo>
                <a:cubicBezTo>
                  <a:pt x="154666" y="-2"/>
                  <a:pt x="156806" y="1081"/>
                  <a:pt x="158153" y="2915"/>
                </a:cubicBezTo>
                <a:lnTo>
                  <a:pt x="158677" y="3743"/>
                </a:lnTo>
                <a:lnTo>
                  <a:pt x="189757" y="61160"/>
                </a:lnTo>
                <a:lnTo>
                  <a:pt x="190119" y="62046"/>
                </a:lnTo>
                <a:lnTo>
                  <a:pt x="190233" y="62427"/>
                </a:lnTo>
                <a:lnTo>
                  <a:pt x="190424" y="63398"/>
                </a:lnTo>
                <a:lnTo>
                  <a:pt x="190481" y="64294"/>
                </a:lnTo>
                <a:cubicBezTo>
                  <a:pt x="190482" y="64937"/>
                  <a:pt x="190395" y="65578"/>
                  <a:pt x="190224" y="66199"/>
                </a:cubicBezTo>
                <a:lnTo>
                  <a:pt x="189776" y="67389"/>
                </a:lnTo>
                <a:lnTo>
                  <a:pt x="189414" y="68047"/>
                </a:lnTo>
                <a:cubicBezTo>
                  <a:pt x="189204" y="68390"/>
                  <a:pt x="188965" y="68715"/>
                  <a:pt x="188700" y="69018"/>
                </a:cubicBezTo>
                <a:lnTo>
                  <a:pt x="189271" y="68275"/>
                </a:lnTo>
                <a:lnTo>
                  <a:pt x="189033" y="68609"/>
                </a:lnTo>
                <a:lnTo>
                  <a:pt x="100927" y="168669"/>
                </a:lnTo>
                <a:cubicBezTo>
                  <a:pt x="100195" y="169642"/>
                  <a:pt x="99219" y="170404"/>
                  <a:pt x="98098" y="170879"/>
                </a:cubicBezTo>
                <a:lnTo>
                  <a:pt x="97165" y="171193"/>
                </a:lnTo>
                <a:lnTo>
                  <a:pt x="96422" y="171355"/>
                </a:lnTo>
                <a:lnTo>
                  <a:pt x="95250" y="171450"/>
                </a:lnTo>
                <a:lnTo>
                  <a:pt x="94298" y="171393"/>
                </a:lnTo>
                <a:lnTo>
                  <a:pt x="93174" y="171145"/>
                </a:lnTo>
                <a:cubicBezTo>
                  <a:pt x="92592" y="170979"/>
                  <a:pt x="92034" y="170735"/>
                  <a:pt x="91516" y="170421"/>
                </a:cubicBezTo>
                <a:lnTo>
                  <a:pt x="91430" y="170355"/>
                </a:lnTo>
                <a:cubicBezTo>
                  <a:pt x="90978" y="170077"/>
                  <a:pt x="90563" y="169744"/>
                  <a:pt x="90192" y="169364"/>
                </a:cubicBezTo>
                <a:lnTo>
                  <a:pt x="1705" y="68913"/>
                </a:lnTo>
                <a:lnTo>
                  <a:pt x="1457" y="68609"/>
                </a:lnTo>
                <a:lnTo>
                  <a:pt x="1076" y="68047"/>
                </a:lnTo>
                <a:cubicBezTo>
                  <a:pt x="537" y="67175"/>
                  <a:pt x="192" y="66197"/>
                  <a:pt x="67" y="65180"/>
                </a:cubicBezTo>
                <a:lnTo>
                  <a:pt x="0" y="64294"/>
                </a:lnTo>
                <a:lnTo>
                  <a:pt x="29" y="63665"/>
                </a:lnTo>
                <a:lnTo>
                  <a:pt x="152" y="62817"/>
                </a:lnTo>
                <a:cubicBezTo>
                  <a:pt x="212" y="62540"/>
                  <a:pt x="288" y="62266"/>
                  <a:pt x="381" y="61998"/>
                </a:cubicBezTo>
                <a:lnTo>
                  <a:pt x="591" y="61436"/>
                </a:lnTo>
                <a:lnTo>
                  <a:pt x="857" y="60893"/>
                </a:lnTo>
                <a:lnTo>
                  <a:pt x="31814" y="3743"/>
                </a:lnTo>
                <a:cubicBezTo>
                  <a:pt x="32896" y="1743"/>
                  <a:pt x="34866" y="378"/>
                  <a:pt x="37119" y="67"/>
                </a:cubicBezTo>
                <a:lnTo>
                  <a:pt x="38090" y="0"/>
                </a:lnTo>
                <a:lnTo>
                  <a:pt x="152390" y="0"/>
                </a:lnTo>
                <a:close/>
                <a:moveTo>
                  <a:pt x="123796" y="71438"/>
                </a:moveTo>
                <a:lnTo>
                  <a:pt x="66656" y="71438"/>
                </a:lnTo>
                <a:lnTo>
                  <a:pt x="95231" y="144656"/>
                </a:lnTo>
                <a:lnTo>
                  <a:pt x="123796" y="71438"/>
                </a:lnTo>
                <a:close/>
                <a:moveTo>
                  <a:pt x="51330" y="71438"/>
                </a:moveTo>
                <a:lnTo>
                  <a:pt x="22946" y="71438"/>
                </a:lnTo>
                <a:lnTo>
                  <a:pt x="73914" y="129292"/>
                </a:lnTo>
                <a:lnTo>
                  <a:pt x="51330" y="71438"/>
                </a:lnTo>
                <a:close/>
                <a:moveTo>
                  <a:pt x="167516" y="71438"/>
                </a:moveTo>
                <a:lnTo>
                  <a:pt x="139141" y="71438"/>
                </a:lnTo>
                <a:lnTo>
                  <a:pt x="116586" y="129254"/>
                </a:lnTo>
                <a:lnTo>
                  <a:pt x="167516" y="71438"/>
                </a:lnTo>
                <a:close/>
                <a:moveTo>
                  <a:pt x="66399" y="14288"/>
                </a:moveTo>
                <a:lnTo>
                  <a:pt x="42339" y="14288"/>
                </a:lnTo>
                <a:lnTo>
                  <a:pt x="19117" y="57150"/>
                </a:lnTo>
                <a:lnTo>
                  <a:pt x="52683" y="57150"/>
                </a:lnTo>
                <a:lnTo>
                  <a:pt x="66399" y="14288"/>
                </a:lnTo>
                <a:close/>
                <a:moveTo>
                  <a:pt x="109071" y="14288"/>
                </a:moveTo>
                <a:lnTo>
                  <a:pt x="81401" y="14288"/>
                </a:lnTo>
                <a:lnTo>
                  <a:pt x="67675" y="57150"/>
                </a:lnTo>
                <a:lnTo>
                  <a:pt x="122777" y="57150"/>
                </a:lnTo>
                <a:lnTo>
                  <a:pt x="109061" y="14288"/>
                </a:lnTo>
                <a:close/>
                <a:moveTo>
                  <a:pt x="148123" y="14288"/>
                </a:moveTo>
                <a:lnTo>
                  <a:pt x="124073" y="14288"/>
                </a:lnTo>
                <a:lnTo>
                  <a:pt x="137789" y="57150"/>
                </a:lnTo>
                <a:lnTo>
                  <a:pt x="171336" y="57150"/>
                </a:lnTo>
                <a:lnTo>
                  <a:pt x="148133" y="14288"/>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25" name="Graphic 99" descr="Icon of a puzzle piece">
            <a:extLst>
              <a:ext uri="{FF2B5EF4-FFF2-40B4-BE49-F238E27FC236}">
                <a16:creationId xmlns:a16="http://schemas.microsoft.com/office/drawing/2014/main" id="{3339B342-4676-F0F3-0B6B-02CDC9EF5753}"/>
              </a:ext>
            </a:extLst>
          </p:cNvPr>
          <p:cNvSpPr/>
          <p:nvPr/>
        </p:nvSpPr>
        <p:spPr>
          <a:xfrm>
            <a:off x="855010" y="4599639"/>
            <a:ext cx="159404" cy="187616"/>
          </a:xfrm>
          <a:custGeom>
            <a:avLst/>
            <a:gdLst>
              <a:gd name="connsiteX0" fmla="*/ 151509 w 257696"/>
              <a:gd name="connsiteY0" fmla="*/ 0 h 303303"/>
              <a:gd name="connsiteX1" fmla="*/ 196928 w 257696"/>
              <a:gd name="connsiteY1" fmla="*/ 42764 h 303303"/>
              <a:gd name="connsiteX2" fmla="*/ 197003 w 257696"/>
              <a:gd name="connsiteY2" fmla="*/ 45429 h 303303"/>
              <a:gd name="connsiteX3" fmla="*/ 231149 w 257696"/>
              <a:gd name="connsiteY3" fmla="*/ 45444 h 303303"/>
              <a:gd name="connsiteX4" fmla="*/ 257330 w 257696"/>
              <a:gd name="connsiteY4" fmla="*/ 67570 h 303303"/>
              <a:gd name="connsiteX5" fmla="*/ 257608 w 257696"/>
              <a:gd name="connsiteY5" fmla="*/ 69816 h 303303"/>
              <a:gd name="connsiteX6" fmla="*/ 257696 w 257696"/>
              <a:gd name="connsiteY6" fmla="*/ 71994 h 303303"/>
              <a:gd name="connsiteX7" fmla="*/ 257682 w 257696"/>
              <a:gd name="connsiteY7" fmla="*/ 128896 h 303303"/>
              <a:gd name="connsiteX8" fmla="*/ 227380 w 257696"/>
              <a:gd name="connsiteY8" fmla="*/ 128897 h 303303"/>
              <a:gd name="connsiteX9" fmla="*/ 204930 w 257696"/>
              <a:gd name="connsiteY9" fmla="*/ 147692 h 303303"/>
              <a:gd name="connsiteX10" fmla="*/ 204698 w 257696"/>
              <a:gd name="connsiteY10" fmla="*/ 149698 h 303303"/>
              <a:gd name="connsiteX11" fmla="*/ 204625 w 257696"/>
              <a:gd name="connsiteY11" fmla="*/ 151652 h 303303"/>
              <a:gd name="connsiteX12" fmla="*/ 223422 w 257696"/>
              <a:gd name="connsiteY12" fmla="*/ 174101 h 303303"/>
              <a:gd name="connsiteX13" fmla="*/ 225426 w 257696"/>
              <a:gd name="connsiteY13" fmla="*/ 174333 h 303303"/>
              <a:gd name="connsiteX14" fmla="*/ 227380 w 257696"/>
              <a:gd name="connsiteY14" fmla="*/ 174406 h 303303"/>
              <a:gd name="connsiteX15" fmla="*/ 257682 w 257696"/>
              <a:gd name="connsiteY15" fmla="*/ 174405 h 303303"/>
              <a:gd name="connsiteX16" fmla="*/ 257696 w 257696"/>
              <a:gd name="connsiteY16" fmla="*/ 231312 h 303303"/>
              <a:gd name="connsiteX17" fmla="*/ 233326 w 257696"/>
              <a:gd name="connsiteY17" fmla="*/ 257771 h 303303"/>
              <a:gd name="connsiteX18" fmla="*/ 231149 w 257696"/>
              <a:gd name="connsiteY18" fmla="*/ 257859 h 303303"/>
              <a:gd name="connsiteX19" fmla="*/ 197003 w 257696"/>
              <a:gd name="connsiteY19" fmla="*/ 257849 h 303303"/>
              <a:gd name="connsiteX20" fmla="*/ 196942 w 257696"/>
              <a:gd name="connsiteY20" fmla="*/ 260468 h 303303"/>
              <a:gd name="connsiteX21" fmla="*/ 156921 w 257696"/>
              <a:gd name="connsiteY21" fmla="*/ 302985 h 303303"/>
              <a:gd name="connsiteX22" fmla="*/ 154183 w 257696"/>
              <a:gd name="connsiteY22" fmla="*/ 303226 h 303303"/>
              <a:gd name="connsiteX23" fmla="*/ 151509 w 257696"/>
              <a:gd name="connsiteY23" fmla="*/ 303304 h 303303"/>
              <a:gd name="connsiteX24" fmla="*/ 106078 w 257696"/>
              <a:gd name="connsiteY24" fmla="*/ 260518 h 303303"/>
              <a:gd name="connsiteX25" fmla="*/ 106001 w 257696"/>
              <a:gd name="connsiteY25" fmla="*/ 257849 h 303303"/>
              <a:gd name="connsiteX26" fmla="*/ 71869 w 257696"/>
              <a:gd name="connsiteY26" fmla="*/ 257859 h 303303"/>
              <a:gd name="connsiteX27" fmla="*/ 45689 w 257696"/>
              <a:gd name="connsiteY27" fmla="*/ 235737 h 303303"/>
              <a:gd name="connsiteX28" fmla="*/ 45411 w 257696"/>
              <a:gd name="connsiteY28" fmla="*/ 233492 h 303303"/>
              <a:gd name="connsiteX29" fmla="*/ 45323 w 257696"/>
              <a:gd name="connsiteY29" fmla="*/ 231315 h 303303"/>
              <a:gd name="connsiteX30" fmla="*/ 45307 w 257696"/>
              <a:gd name="connsiteY30" fmla="*/ 197156 h 303303"/>
              <a:gd name="connsiteX31" fmla="*/ 42835 w 257696"/>
              <a:gd name="connsiteY31" fmla="*/ 197083 h 303303"/>
              <a:gd name="connsiteX32" fmla="*/ 318 w 257696"/>
              <a:gd name="connsiteY32" fmla="*/ 157063 h 303303"/>
              <a:gd name="connsiteX33" fmla="*/ 77 w 257696"/>
              <a:gd name="connsiteY33" fmla="*/ 154326 h 303303"/>
              <a:gd name="connsiteX34" fmla="*/ 0 w 257696"/>
              <a:gd name="connsiteY34" fmla="*/ 151652 h 303303"/>
              <a:gd name="connsiteX35" fmla="*/ 42834 w 257696"/>
              <a:gd name="connsiteY35" fmla="*/ 106220 h 303303"/>
              <a:gd name="connsiteX36" fmla="*/ 45307 w 257696"/>
              <a:gd name="connsiteY36" fmla="*/ 106138 h 303303"/>
              <a:gd name="connsiteX37" fmla="*/ 45323 w 257696"/>
              <a:gd name="connsiteY37" fmla="*/ 71991 h 303303"/>
              <a:gd name="connsiteX38" fmla="*/ 67445 w 257696"/>
              <a:gd name="connsiteY38" fmla="*/ 45811 h 303303"/>
              <a:gd name="connsiteX39" fmla="*/ 69690 w 257696"/>
              <a:gd name="connsiteY39" fmla="*/ 45532 h 303303"/>
              <a:gd name="connsiteX40" fmla="*/ 71867 w 257696"/>
              <a:gd name="connsiteY40" fmla="*/ 45444 h 303303"/>
              <a:gd name="connsiteX41" fmla="*/ 105986 w 257696"/>
              <a:gd name="connsiteY41" fmla="*/ 45429 h 303303"/>
              <a:gd name="connsiteX42" fmla="*/ 106078 w 257696"/>
              <a:gd name="connsiteY42" fmla="*/ 42835 h 303303"/>
              <a:gd name="connsiteX43" fmla="*/ 146098 w 257696"/>
              <a:gd name="connsiteY43" fmla="*/ 318 h 303303"/>
              <a:gd name="connsiteX44" fmla="*/ 148836 w 257696"/>
              <a:gd name="connsiteY44" fmla="*/ 77 h 303303"/>
              <a:gd name="connsiteX45" fmla="*/ 151509 w 257696"/>
              <a:gd name="connsiteY45" fmla="*/ 0 h 303303"/>
              <a:gd name="connsiteX46" fmla="*/ 151509 w 257696"/>
              <a:gd name="connsiteY46" fmla="*/ 22754 h 303303"/>
              <a:gd name="connsiteX47" fmla="*/ 128859 w 257696"/>
              <a:gd name="connsiteY47" fmla="*/ 43327 h 303303"/>
              <a:gd name="connsiteX48" fmla="*/ 128755 w 257696"/>
              <a:gd name="connsiteY48" fmla="*/ 45520 h 303303"/>
              <a:gd name="connsiteX49" fmla="*/ 128733 w 257696"/>
              <a:gd name="connsiteY49" fmla="*/ 68184 h 303303"/>
              <a:gd name="connsiteX50" fmla="*/ 71869 w 257696"/>
              <a:gd name="connsiteY50" fmla="*/ 68199 h 303303"/>
              <a:gd name="connsiteX51" fmla="*/ 68177 w 257696"/>
              <a:gd name="connsiteY51" fmla="*/ 71123 h 303303"/>
              <a:gd name="connsiteX52" fmla="*/ 68077 w 257696"/>
              <a:gd name="connsiteY52" fmla="*/ 71994 h 303303"/>
              <a:gd name="connsiteX53" fmla="*/ 68063 w 257696"/>
              <a:gd name="connsiteY53" fmla="*/ 128894 h 303303"/>
              <a:gd name="connsiteX54" fmla="*/ 45509 w 257696"/>
              <a:gd name="connsiteY54" fmla="*/ 128897 h 303303"/>
              <a:gd name="connsiteX55" fmla="*/ 22754 w 257696"/>
              <a:gd name="connsiteY55" fmla="*/ 151652 h 303303"/>
              <a:gd name="connsiteX56" fmla="*/ 43316 w 257696"/>
              <a:gd name="connsiteY56" fmla="*/ 174301 h 303303"/>
              <a:gd name="connsiteX57" fmla="*/ 45508 w 257696"/>
              <a:gd name="connsiteY57" fmla="*/ 174406 h 303303"/>
              <a:gd name="connsiteX58" fmla="*/ 68063 w 257696"/>
              <a:gd name="connsiteY58" fmla="*/ 174403 h 303303"/>
              <a:gd name="connsiteX59" fmla="*/ 68077 w 257696"/>
              <a:gd name="connsiteY59" fmla="*/ 231312 h 303303"/>
              <a:gd name="connsiteX60" fmla="*/ 70999 w 257696"/>
              <a:gd name="connsiteY60" fmla="*/ 235004 h 303303"/>
              <a:gd name="connsiteX61" fmla="*/ 71868 w 257696"/>
              <a:gd name="connsiteY61" fmla="*/ 235104 h 303303"/>
              <a:gd name="connsiteX62" fmla="*/ 128733 w 257696"/>
              <a:gd name="connsiteY62" fmla="*/ 235097 h 303303"/>
              <a:gd name="connsiteX63" fmla="*/ 128755 w 257696"/>
              <a:gd name="connsiteY63" fmla="*/ 257795 h 303303"/>
              <a:gd name="connsiteX64" fmla="*/ 151509 w 257696"/>
              <a:gd name="connsiteY64" fmla="*/ 280549 h 303303"/>
              <a:gd name="connsiteX65" fmla="*/ 174160 w 257696"/>
              <a:gd name="connsiteY65" fmla="*/ 259994 h 303303"/>
              <a:gd name="connsiteX66" fmla="*/ 174263 w 257696"/>
              <a:gd name="connsiteY66" fmla="*/ 257805 h 303303"/>
              <a:gd name="connsiteX67" fmla="*/ 174242 w 257696"/>
              <a:gd name="connsiteY67" fmla="*/ 235097 h 303303"/>
              <a:gd name="connsiteX68" fmla="*/ 231149 w 257696"/>
              <a:gd name="connsiteY68" fmla="*/ 235104 h 303303"/>
              <a:gd name="connsiteX69" fmla="*/ 234842 w 257696"/>
              <a:gd name="connsiteY69" fmla="*/ 232182 h 303303"/>
              <a:gd name="connsiteX70" fmla="*/ 234942 w 257696"/>
              <a:gd name="connsiteY70" fmla="*/ 231315 h 303303"/>
              <a:gd name="connsiteX71" fmla="*/ 234926 w 257696"/>
              <a:gd name="connsiteY71" fmla="*/ 197141 h 303303"/>
              <a:gd name="connsiteX72" fmla="*/ 226997 w 257696"/>
              <a:gd name="connsiteY72" fmla="*/ 197154 h 303303"/>
              <a:gd name="connsiteX73" fmla="*/ 224276 w 257696"/>
              <a:gd name="connsiteY73" fmla="*/ 197056 h 303303"/>
              <a:gd name="connsiteX74" fmla="*/ 181953 w 257696"/>
              <a:gd name="connsiteY74" fmla="*/ 153956 h 303303"/>
              <a:gd name="connsiteX75" fmla="*/ 181877 w 257696"/>
              <a:gd name="connsiteY75" fmla="*/ 151268 h 303303"/>
              <a:gd name="connsiteX76" fmla="*/ 181976 w 257696"/>
              <a:gd name="connsiteY76" fmla="*/ 148546 h 303303"/>
              <a:gd name="connsiteX77" fmla="*/ 224733 w 257696"/>
              <a:gd name="connsiteY77" fmla="*/ 106218 h 303303"/>
              <a:gd name="connsiteX78" fmla="*/ 227380 w 257696"/>
              <a:gd name="connsiteY78" fmla="*/ 106143 h 303303"/>
              <a:gd name="connsiteX79" fmla="*/ 234926 w 257696"/>
              <a:gd name="connsiteY79" fmla="*/ 106138 h 303303"/>
              <a:gd name="connsiteX80" fmla="*/ 234942 w 257696"/>
              <a:gd name="connsiteY80" fmla="*/ 71991 h 303303"/>
              <a:gd name="connsiteX81" fmla="*/ 232967 w 257696"/>
              <a:gd name="connsiteY81" fmla="*/ 68661 h 303303"/>
              <a:gd name="connsiteX82" fmla="*/ 232018 w 257696"/>
              <a:gd name="connsiteY82" fmla="*/ 68299 h 303303"/>
              <a:gd name="connsiteX83" fmla="*/ 231148 w 257696"/>
              <a:gd name="connsiteY83" fmla="*/ 68199 h 303303"/>
              <a:gd name="connsiteX84" fmla="*/ 174242 w 257696"/>
              <a:gd name="connsiteY84" fmla="*/ 68184 h 303303"/>
              <a:gd name="connsiteX85" fmla="*/ 174263 w 257696"/>
              <a:gd name="connsiteY85" fmla="*/ 45509 h 303303"/>
              <a:gd name="connsiteX86" fmla="*/ 151509 w 257696"/>
              <a:gd name="connsiteY86" fmla="*/ 22754 h 30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57696" h="303303">
                <a:moveTo>
                  <a:pt x="151509" y="0"/>
                </a:moveTo>
                <a:cubicBezTo>
                  <a:pt x="175745" y="0"/>
                  <a:pt x="195557" y="18946"/>
                  <a:pt x="196928" y="42764"/>
                </a:cubicBezTo>
                <a:lnTo>
                  <a:pt x="197003" y="45429"/>
                </a:lnTo>
                <a:lnTo>
                  <a:pt x="231149" y="45444"/>
                </a:lnTo>
                <a:cubicBezTo>
                  <a:pt x="244304" y="45444"/>
                  <a:pt x="255225" y="55012"/>
                  <a:pt x="257330" y="67570"/>
                </a:cubicBezTo>
                <a:lnTo>
                  <a:pt x="257608" y="69816"/>
                </a:lnTo>
                <a:lnTo>
                  <a:pt x="257696" y="71994"/>
                </a:lnTo>
                <a:lnTo>
                  <a:pt x="257682" y="128896"/>
                </a:lnTo>
                <a:lnTo>
                  <a:pt x="227380" y="128897"/>
                </a:lnTo>
                <a:cubicBezTo>
                  <a:pt x="216100" y="128897"/>
                  <a:pt x="206655" y="137137"/>
                  <a:pt x="204930" y="147692"/>
                </a:cubicBezTo>
                <a:lnTo>
                  <a:pt x="204698" y="149698"/>
                </a:lnTo>
                <a:lnTo>
                  <a:pt x="204625" y="151652"/>
                </a:lnTo>
                <a:cubicBezTo>
                  <a:pt x="204625" y="162932"/>
                  <a:pt x="212865" y="172376"/>
                  <a:pt x="223422" y="174101"/>
                </a:cubicBezTo>
                <a:lnTo>
                  <a:pt x="225426" y="174333"/>
                </a:lnTo>
                <a:lnTo>
                  <a:pt x="227380" y="174406"/>
                </a:lnTo>
                <a:lnTo>
                  <a:pt x="257682" y="174405"/>
                </a:lnTo>
                <a:lnTo>
                  <a:pt x="257696" y="231312"/>
                </a:lnTo>
                <a:cubicBezTo>
                  <a:pt x="257696" y="245240"/>
                  <a:pt x="246970" y="256663"/>
                  <a:pt x="233326" y="257771"/>
                </a:cubicBezTo>
                <a:lnTo>
                  <a:pt x="231149" y="257859"/>
                </a:lnTo>
                <a:lnTo>
                  <a:pt x="197003" y="257849"/>
                </a:lnTo>
                <a:lnTo>
                  <a:pt x="196942" y="260468"/>
                </a:lnTo>
                <a:cubicBezTo>
                  <a:pt x="195662" y="282552"/>
                  <a:pt x="178634" y="300412"/>
                  <a:pt x="156921" y="302985"/>
                </a:cubicBezTo>
                <a:lnTo>
                  <a:pt x="154183" y="303226"/>
                </a:lnTo>
                <a:lnTo>
                  <a:pt x="151509" y="303304"/>
                </a:lnTo>
                <a:cubicBezTo>
                  <a:pt x="127274" y="303304"/>
                  <a:pt x="107463" y="284357"/>
                  <a:pt x="106078" y="260518"/>
                </a:cubicBezTo>
                <a:lnTo>
                  <a:pt x="106001" y="257849"/>
                </a:lnTo>
                <a:lnTo>
                  <a:pt x="71869" y="257859"/>
                </a:lnTo>
                <a:cubicBezTo>
                  <a:pt x="58715" y="257859"/>
                  <a:pt x="47795" y="248291"/>
                  <a:pt x="45689" y="235737"/>
                </a:cubicBezTo>
                <a:lnTo>
                  <a:pt x="45411" y="233492"/>
                </a:lnTo>
                <a:lnTo>
                  <a:pt x="45323" y="231315"/>
                </a:lnTo>
                <a:lnTo>
                  <a:pt x="45307" y="197156"/>
                </a:lnTo>
                <a:lnTo>
                  <a:pt x="42835" y="197083"/>
                </a:lnTo>
                <a:cubicBezTo>
                  <a:pt x="20750" y="195803"/>
                  <a:pt x="2891" y="178776"/>
                  <a:pt x="318" y="157063"/>
                </a:cubicBezTo>
                <a:lnTo>
                  <a:pt x="77" y="154326"/>
                </a:lnTo>
                <a:lnTo>
                  <a:pt x="0" y="151652"/>
                </a:lnTo>
                <a:cubicBezTo>
                  <a:pt x="0" y="127415"/>
                  <a:pt x="18946" y="107604"/>
                  <a:pt x="42834" y="106220"/>
                </a:cubicBezTo>
                <a:lnTo>
                  <a:pt x="45307" y="106138"/>
                </a:lnTo>
                <a:lnTo>
                  <a:pt x="45323" y="71991"/>
                </a:lnTo>
                <a:cubicBezTo>
                  <a:pt x="45323" y="58837"/>
                  <a:pt x="54890" y="47917"/>
                  <a:pt x="67445" y="45811"/>
                </a:cubicBezTo>
                <a:lnTo>
                  <a:pt x="69690" y="45532"/>
                </a:lnTo>
                <a:lnTo>
                  <a:pt x="71867" y="45444"/>
                </a:lnTo>
                <a:lnTo>
                  <a:pt x="105986" y="45429"/>
                </a:lnTo>
                <a:lnTo>
                  <a:pt x="106078" y="42835"/>
                </a:lnTo>
                <a:cubicBezTo>
                  <a:pt x="107358" y="20750"/>
                  <a:pt x="124386" y="2891"/>
                  <a:pt x="146098" y="318"/>
                </a:cubicBezTo>
                <a:lnTo>
                  <a:pt x="148836" y="77"/>
                </a:lnTo>
                <a:lnTo>
                  <a:pt x="151509" y="0"/>
                </a:lnTo>
                <a:close/>
                <a:moveTo>
                  <a:pt x="151509" y="22754"/>
                </a:moveTo>
                <a:cubicBezTo>
                  <a:pt x="139683" y="22754"/>
                  <a:pt x="129962" y="31778"/>
                  <a:pt x="128859" y="43327"/>
                </a:cubicBezTo>
                <a:lnTo>
                  <a:pt x="128755" y="45520"/>
                </a:lnTo>
                <a:lnTo>
                  <a:pt x="128733" y="68184"/>
                </a:lnTo>
                <a:lnTo>
                  <a:pt x="71869" y="68199"/>
                </a:lnTo>
                <a:cubicBezTo>
                  <a:pt x="70074" y="68199"/>
                  <a:pt x="68570" y="69446"/>
                  <a:pt x="68177" y="71123"/>
                </a:cubicBezTo>
                <a:lnTo>
                  <a:pt x="68077" y="71994"/>
                </a:lnTo>
                <a:lnTo>
                  <a:pt x="68063" y="128894"/>
                </a:lnTo>
                <a:lnTo>
                  <a:pt x="45509" y="128897"/>
                </a:lnTo>
                <a:cubicBezTo>
                  <a:pt x="32942" y="128897"/>
                  <a:pt x="22754" y="139085"/>
                  <a:pt x="22754" y="151652"/>
                </a:cubicBezTo>
                <a:cubicBezTo>
                  <a:pt x="22754" y="163479"/>
                  <a:pt x="31779" y="173199"/>
                  <a:pt x="43316" y="174301"/>
                </a:cubicBezTo>
                <a:lnTo>
                  <a:pt x="45508" y="174406"/>
                </a:lnTo>
                <a:lnTo>
                  <a:pt x="68063" y="174403"/>
                </a:lnTo>
                <a:lnTo>
                  <a:pt x="68077" y="231312"/>
                </a:lnTo>
                <a:cubicBezTo>
                  <a:pt x="68077" y="233106"/>
                  <a:pt x="69324" y="234611"/>
                  <a:pt x="70999" y="235004"/>
                </a:cubicBezTo>
                <a:lnTo>
                  <a:pt x="71868" y="235104"/>
                </a:lnTo>
                <a:lnTo>
                  <a:pt x="128733" y="235097"/>
                </a:lnTo>
                <a:lnTo>
                  <a:pt x="128755" y="257795"/>
                </a:lnTo>
                <a:cubicBezTo>
                  <a:pt x="128755" y="270361"/>
                  <a:pt x="138942" y="280549"/>
                  <a:pt x="151509" y="280549"/>
                </a:cubicBezTo>
                <a:cubicBezTo>
                  <a:pt x="163337" y="280549"/>
                  <a:pt x="173057" y="271525"/>
                  <a:pt x="174160" y="259994"/>
                </a:cubicBezTo>
                <a:lnTo>
                  <a:pt x="174263" y="257805"/>
                </a:lnTo>
                <a:lnTo>
                  <a:pt x="174242" y="235097"/>
                </a:lnTo>
                <a:lnTo>
                  <a:pt x="231149" y="235104"/>
                </a:lnTo>
                <a:cubicBezTo>
                  <a:pt x="232945" y="235104"/>
                  <a:pt x="234449" y="233857"/>
                  <a:pt x="234842" y="232182"/>
                </a:cubicBezTo>
                <a:lnTo>
                  <a:pt x="234942" y="231315"/>
                </a:lnTo>
                <a:lnTo>
                  <a:pt x="234926" y="197141"/>
                </a:lnTo>
                <a:lnTo>
                  <a:pt x="226997" y="197154"/>
                </a:lnTo>
                <a:lnTo>
                  <a:pt x="224276" y="197056"/>
                </a:lnTo>
                <a:cubicBezTo>
                  <a:pt x="201350" y="195505"/>
                  <a:pt x="183256" y="177070"/>
                  <a:pt x="181953" y="153956"/>
                </a:cubicBezTo>
                <a:lnTo>
                  <a:pt x="181877" y="151268"/>
                </a:lnTo>
                <a:lnTo>
                  <a:pt x="181976" y="148546"/>
                </a:lnTo>
                <a:cubicBezTo>
                  <a:pt x="183526" y="125621"/>
                  <a:pt x="201961" y="107527"/>
                  <a:pt x="224733" y="106218"/>
                </a:cubicBezTo>
                <a:lnTo>
                  <a:pt x="227380" y="106143"/>
                </a:lnTo>
                <a:lnTo>
                  <a:pt x="234926" y="106138"/>
                </a:lnTo>
                <a:lnTo>
                  <a:pt x="234942" y="71991"/>
                </a:lnTo>
                <a:cubicBezTo>
                  <a:pt x="234942" y="70555"/>
                  <a:pt x="234144" y="69305"/>
                  <a:pt x="232967" y="68661"/>
                </a:cubicBezTo>
                <a:lnTo>
                  <a:pt x="232018" y="68299"/>
                </a:lnTo>
                <a:lnTo>
                  <a:pt x="231148" y="68199"/>
                </a:lnTo>
                <a:lnTo>
                  <a:pt x="174242" y="68184"/>
                </a:lnTo>
                <a:lnTo>
                  <a:pt x="174263" y="45509"/>
                </a:lnTo>
                <a:cubicBezTo>
                  <a:pt x="174263" y="32942"/>
                  <a:pt x="164077" y="22754"/>
                  <a:pt x="151509" y="22754"/>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26" name="Graphic 43" descr="Icon of a document with a lifeline">
            <a:extLst>
              <a:ext uri="{FF2B5EF4-FFF2-40B4-BE49-F238E27FC236}">
                <a16:creationId xmlns:a16="http://schemas.microsoft.com/office/drawing/2014/main" id="{F417CE43-0352-8A55-E4A7-C5C487C50839}"/>
              </a:ext>
            </a:extLst>
          </p:cNvPr>
          <p:cNvSpPr/>
          <p:nvPr/>
        </p:nvSpPr>
        <p:spPr>
          <a:xfrm>
            <a:off x="3716426" y="4608080"/>
            <a:ext cx="156772" cy="174190"/>
          </a:xfrm>
          <a:custGeom>
            <a:avLst/>
            <a:gdLst>
              <a:gd name="connsiteX0" fmla="*/ 274357 w 308652"/>
              <a:gd name="connsiteY0" fmla="*/ 317226 h 342946"/>
              <a:gd name="connsiteX1" fmla="*/ 282931 w 308652"/>
              <a:gd name="connsiteY1" fmla="*/ 308652 h 342946"/>
              <a:gd name="connsiteX2" fmla="*/ 282931 w 308652"/>
              <a:gd name="connsiteY2" fmla="*/ 137179 h 342946"/>
              <a:gd name="connsiteX3" fmla="*/ 205768 w 308652"/>
              <a:gd name="connsiteY3" fmla="*/ 137179 h 342946"/>
              <a:gd name="connsiteX4" fmla="*/ 171473 w 308652"/>
              <a:gd name="connsiteY4" fmla="*/ 102884 h 342946"/>
              <a:gd name="connsiteX5" fmla="*/ 171473 w 308652"/>
              <a:gd name="connsiteY5" fmla="*/ 25721 h 342946"/>
              <a:gd name="connsiteX6" fmla="*/ 68589 w 308652"/>
              <a:gd name="connsiteY6" fmla="*/ 25721 h 342946"/>
              <a:gd name="connsiteX7" fmla="*/ 60016 w 308652"/>
              <a:gd name="connsiteY7" fmla="*/ 34295 h 342946"/>
              <a:gd name="connsiteX8" fmla="*/ 60016 w 308652"/>
              <a:gd name="connsiteY8" fmla="*/ 124318 h 342946"/>
              <a:gd name="connsiteX9" fmla="*/ 47155 w 308652"/>
              <a:gd name="connsiteY9" fmla="*/ 137179 h 342946"/>
              <a:gd name="connsiteX10" fmla="*/ 34295 w 308652"/>
              <a:gd name="connsiteY10" fmla="*/ 124318 h 342946"/>
              <a:gd name="connsiteX11" fmla="*/ 34295 w 308652"/>
              <a:gd name="connsiteY11" fmla="*/ 34295 h 342946"/>
              <a:gd name="connsiteX12" fmla="*/ 68589 w 308652"/>
              <a:gd name="connsiteY12" fmla="*/ 0 h 342946"/>
              <a:gd name="connsiteX13" fmla="*/ 174423 w 308652"/>
              <a:gd name="connsiteY13" fmla="*/ 0 h 342946"/>
              <a:gd name="connsiteX14" fmla="*/ 175832 w 308652"/>
              <a:gd name="connsiteY14" fmla="*/ 127 h 342946"/>
              <a:gd name="connsiteX15" fmla="*/ 176840 w 308652"/>
              <a:gd name="connsiteY15" fmla="*/ 240 h 342946"/>
              <a:gd name="connsiteX16" fmla="*/ 187540 w 308652"/>
              <a:gd name="connsiteY16" fmla="*/ 2606 h 342946"/>
              <a:gd name="connsiteX17" fmla="*/ 190387 w 308652"/>
              <a:gd name="connsiteY17" fmla="*/ 4104 h 342946"/>
              <a:gd name="connsiteX18" fmla="*/ 191244 w 308652"/>
              <a:gd name="connsiteY18" fmla="*/ 4595 h 342946"/>
              <a:gd name="connsiteX19" fmla="*/ 192059 w 308652"/>
              <a:gd name="connsiteY19" fmla="*/ 5008 h 342946"/>
              <a:gd name="connsiteX20" fmla="*/ 193439 w 308652"/>
              <a:gd name="connsiteY20" fmla="*/ 5762 h 342946"/>
              <a:gd name="connsiteX21" fmla="*/ 197194 w 308652"/>
              <a:gd name="connsiteY21" fmla="*/ 8848 h 342946"/>
              <a:gd name="connsiteX22" fmla="*/ 197817 w 308652"/>
              <a:gd name="connsiteY22" fmla="*/ 9349 h 342946"/>
              <a:gd name="connsiteX23" fmla="*/ 198652 w 308652"/>
              <a:gd name="connsiteY23" fmla="*/ 10048 h 342946"/>
              <a:gd name="connsiteX24" fmla="*/ 298604 w 308652"/>
              <a:gd name="connsiteY24" fmla="*/ 109983 h 342946"/>
              <a:gd name="connsiteX25" fmla="*/ 308652 w 308652"/>
              <a:gd name="connsiteY25" fmla="*/ 134229 h 342946"/>
              <a:gd name="connsiteX26" fmla="*/ 308652 w 308652"/>
              <a:gd name="connsiteY26" fmla="*/ 308652 h 342946"/>
              <a:gd name="connsiteX27" fmla="*/ 274357 w 308652"/>
              <a:gd name="connsiteY27" fmla="*/ 342947 h 342946"/>
              <a:gd name="connsiteX28" fmla="*/ 68589 w 308652"/>
              <a:gd name="connsiteY28" fmla="*/ 342947 h 342946"/>
              <a:gd name="connsiteX29" fmla="*/ 34295 w 308652"/>
              <a:gd name="connsiteY29" fmla="*/ 308652 h 342946"/>
              <a:gd name="connsiteX30" fmla="*/ 34295 w 308652"/>
              <a:gd name="connsiteY30" fmla="*/ 244350 h 342946"/>
              <a:gd name="connsiteX31" fmla="*/ 47155 w 308652"/>
              <a:gd name="connsiteY31" fmla="*/ 231489 h 342946"/>
              <a:gd name="connsiteX32" fmla="*/ 60016 w 308652"/>
              <a:gd name="connsiteY32" fmla="*/ 244350 h 342946"/>
              <a:gd name="connsiteX33" fmla="*/ 60016 w 308652"/>
              <a:gd name="connsiteY33" fmla="*/ 308652 h 342946"/>
              <a:gd name="connsiteX34" fmla="*/ 68589 w 308652"/>
              <a:gd name="connsiteY34" fmla="*/ 317226 h 342946"/>
              <a:gd name="connsiteX35" fmla="*/ 274357 w 308652"/>
              <a:gd name="connsiteY35" fmla="*/ 317226 h 342946"/>
              <a:gd name="connsiteX36" fmla="*/ 263692 w 308652"/>
              <a:gd name="connsiteY36" fmla="*/ 111458 h 342946"/>
              <a:gd name="connsiteX37" fmla="*/ 197194 w 308652"/>
              <a:gd name="connsiteY37" fmla="*/ 44943 h 342946"/>
              <a:gd name="connsiteX38" fmla="*/ 197194 w 308652"/>
              <a:gd name="connsiteY38" fmla="*/ 102884 h 342946"/>
              <a:gd name="connsiteX39" fmla="*/ 205768 w 308652"/>
              <a:gd name="connsiteY39" fmla="*/ 111458 h 342946"/>
              <a:gd name="connsiteX40" fmla="*/ 263692 w 308652"/>
              <a:gd name="connsiteY40" fmla="*/ 111458 h 342946"/>
              <a:gd name="connsiteX41" fmla="*/ 12861 w 308652"/>
              <a:gd name="connsiteY41" fmla="*/ 188621 h 342946"/>
              <a:gd name="connsiteX42" fmla="*/ 55816 w 308652"/>
              <a:gd name="connsiteY42" fmla="*/ 188621 h 342946"/>
              <a:gd name="connsiteX43" fmla="*/ 82509 w 308652"/>
              <a:gd name="connsiteY43" fmla="*/ 127729 h 342946"/>
              <a:gd name="connsiteX44" fmla="*/ 105265 w 308652"/>
              <a:gd name="connsiteY44" fmla="*/ 126170 h 342946"/>
              <a:gd name="connsiteX45" fmla="*/ 105363 w 308652"/>
              <a:gd name="connsiteY45" fmla="*/ 126333 h 342946"/>
              <a:gd name="connsiteX46" fmla="*/ 106226 w 308652"/>
              <a:gd name="connsiteY46" fmla="*/ 128111 h 342946"/>
              <a:gd name="connsiteX47" fmla="*/ 147606 w 308652"/>
              <a:gd name="connsiteY47" fmla="*/ 231450 h 342946"/>
              <a:gd name="connsiteX48" fmla="*/ 172070 w 308652"/>
              <a:gd name="connsiteY48" fmla="*/ 195444 h 342946"/>
              <a:gd name="connsiteX49" fmla="*/ 181422 w 308652"/>
              <a:gd name="connsiteY49" fmla="*/ 188777 h 342946"/>
              <a:gd name="connsiteX50" fmla="*/ 181606 w 308652"/>
              <a:gd name="connsiteY50" fmla="*/ 188748 h 342946"/>
              <a:gd name="connsiteX51" fmla="*/ 183427 w 308652"/>
              <a:gd name="connsiteY51" fmla="*/ 188619 h 342946"/>
              <a:gd name="connsiteX52" fmla="*/ 217720 w 308652"/>
              <a:gd name="connsiteY52" fmla="*/ 188619 h 342946"/>
              <a:gd name="connsiteX53" fmla="*/ 230580 w 308652"/>
              <a:gd name="connsiteY53" fmla="*/ 201479 h 342946"/>
              <a:gd name="connsiteX54" fmla="*/ 219659 w 308652"/>
              <a:gd name="connsiteY54" fmla="*/ 214196 h 342946"/>
              <a:gd name="connsiteX55" fmla="*/ 219482 w 308652"/>
              <a:gd name="connsiteY55" fmla="*/ 214222 h 342946"/>
              <a:gd name="connsiteX56" fmla="*/ 217720 w 308652"/>
              <a:gd name="connsiteY56" fmla="*/ 214340 h 342946"/>
              <a:gd name="connsiteX57" fmla="*/ 191069 w 308652"/>
              <a:gd name="connsiteY57" fmla="*/ 214340 h 342946"/>
              <a:gd name="connsiteX58" fmla="*/ 157140 w 308652"/>
              <a:gd name="connsiteY58" fmla="*/ 267390 h 342946"/>
              <a:gd name="connsiteX59" fmla="*/ 134747 w 308652"/>
              <a:gd name="connsiteY59" fmla="*/ 268088 h 342946"/>
              <a:gd name="connsiteX60" fmla="*/ 134651 w 308652"/>
              <a:gd name="connsiteY60" fmla="*/ 267929 h 342946"/>
              <a:gd name="connsiteX61" fmla="*/ 133814 w 308652"/>
              <a:gd name="connsiteY61" fmla="*/ 266195 h 342946"/>
              <a:gd name="connsiteX62" fmla="*/ 93751 w 308652"/>
              <a:gd name="connsiteY62" fmla="*/ 166147 h 342946"/>
              <a:gd name="connsiteX63" fmla="*/ 75999 w 308652"/>
              <a:gd name="connsiteY63" fmla="*/ 206644 h 342946"/>
              <a:gd name="connsiteX64" fmla="*/ 67108 w 308652"/>
              <a:gd name="connsiteY64" fmla="*/ 214014 h 342946"/>
              <a:gd name="connsiteX65" fmla="*/ 66319 w 308652"/>
              <a:gd name="connsiteY65" fmla="*/ 214170 h 342946"/>
              <a:gd name="connsiteX66" fmla="*/ 66128 w 308652"/>
              <a:gd name="connsiteY66" fmla="*/ 214201 h 342946"/>
              <a:gd name="connsiteX67" fmla="*/ 64220 w 308652"/>
              <a:gd name="connsiteY67" fmla="*/ 214342 h 342946"/>
              <a:gd name="connsiteX68" fmla="*/ 12861 w 308652"/>
              <a:gd name="connsiteY68" fmla="*/ 214342 h 342946"/>
              <a:gd name="connsiteX69" fmla="*/ 0 w 308652"/>
              <a:gd name="connsiteY69" fmla="*/ 201481 h 342946"/>
              <a:gd name="connsiteX70" fmla="*/ 10921 w 308652"/>
              <a:gd name="connsiteY70" fmla="*/ 188766 h 342946"/>
              <a:gd name="connsiteX71" fmla="*/ 11097 w 308652"/>
              <a:gd name="connsiteY71" fmla="*/ 188739 h 342946"/>
              <a:gd name="connsiteX72" fmla="*/ 12861 w 308652"/>
              <a:gd name="connsiteY72" fmla="*/ 188621 h 342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08652" h="342946">
                <a:moveTo>
                  <a:pt x="274357" y="317226"/>
                </a:moveTo>
                <a:cubicBezTo>
                  <a:pt x="279090" y="317226"/>
                  <a:pt x="282931" y="313368"/>
                  <a:pt x="282931" y="308652"/>
                </a:cubicBezTo>
                <a:lnTo>
                  <a:pt x="282931" y="137179"/>
                </a:lnTo>
                <a:lnTo>
                  <a:pt x="205768" y="137179"/>
                </a:lnTo>
                <a:cubicBezTo>
                  <a:pt x="186837" y="137179"/>
                  <a:pt x="171473" y="121815"/>
                  <a:pt x="171473" y="102884"/>
                </a:cubicBezTo>
                <a:lnTo>
                  <a:pt x="171473" y="25721"/>
                </a:lnTo>
                <a:lnTo>
                  <a:pt x="68589" y="25721"/>
                </a:lnTo>
                <a:cubicBezTo>
                  <a:pt x="63857" y="25721"/>
                  <a:pt x="60016" y="29579"/>
                  <a:pt x="60016" y="34295"/>
                </a:cubicBezTo>
                <a:lnTo>
                  <a:pt x="60016" y="124318"/>
                </a:lnTo>
                <a:cubicBezTo>
                  <a:pt x="60016" y="131421"/>
                  <a:pt x="54258" y="137179"/>
                  <a:pt x="47155" y="137179"/>
                </a:cubicBezTo>
                <a:cubicBezTo>
                  <a:pt x="40053" y="137179"/>
                  <a:pt x="34295" y="131421"/>
                  <a:pt x="34295" y="124318"/>
                </a:cubicBezTo>
                <a:lnTo>
                  <a:pt x="34295" y="34295"/>
                </a:lnTo>
                <a:cubicBezTo>
                  <a:pt x="34295" y="15364"/>
                  <a:pt x="49659" y="0"/>
                  <a:pt x="68589" y="0"/>
                </a:cubicBezTo>
                <a:lnTo>
                  <a:pt x="174423" y="0"/>
                </a:lnTo>
                <a:cubicBezTo>
                  <a:pt x="174901" y="0"/>
                  <a:pt x="175368" y="64"/>
                  <a:pt x="175832" y="127"/>
                </a:cubicBezTo>
                <a:cubicBezTo>
                  <a:pt x="176168" y="173"/>
                  <a:pt x="176503" y="218"/>
                  <a:pt x="176840" y="240"/>
                </a:cubicBezTo>
                <a:cubicBezTo>
                  <a:pt x="180527" y="497"/>
                  <a:pt x="184162" y="1200"/>
                  <a:pt x="187540" y="2606"/>
                </a:cubicBezTo>
                <a:cubicBezTo>
                  <a:pt x="188525" y="3026"/>
                  <a:pt x="189457" y="3566"/>
                  <a:pt x="190387" y="4104"/>
                </a:cubicBezTo>
                <a:cubicBezTo>
                  <a:pt x="190673" y="4269"/>
                  <a:pt x="190958" y="4434"/>
                  <a:pt x="191244" y="4595"/>
                </a:cubicBezTo>
                <a:cubicBezTo>
                  <a:pt x="191510" y="4741"/>
                  <a:pt x="191784" y="4874"/>
                  <a:pt x="192059" y="5008"/>
                </a:cubicBezTo>
                <a:cubicBezTo>
                  <a:pt x="192532" y="5238"/>
                  <a:pt x="193005" y="5469"/>
                  <a:pt x="193439" y="5762"/>
                </a:cubicBezTo>
                <a:cubicBezTo>
                  <a:pt x="194777" y="6670"/>
                  <a:pt x="195977" y="7751"/>
                  <a:pt x="197194" y="8848"/>
                </a:cubicBezTo>
                <a:cubicBezTo>
                  <a:pt x="197392" y="9023"/>
                  <a:pt x="197602" y="9185"/>
                  <a:pt x="197817" y="9349"/>
                </a:cubicBezTo>
                <a:cubicBezTo>
                  <a:pt x="198105" y="9570"/>
                  <a:pt x="198395" y="9792"/>
                  <a:pt x="198652" y="10048"/>
                </a:cubicBezTo>
                <a:lnTo>
                  <a:pt x="298604" y="109983"/>
                </a:lnTo>
                <a:cubicBezTo>
                  <a:pt x="305034" y="116413"/>
                  <a:pt x="308652" y="125141"/>
                  <a:pt x="308652" y="134229"/>
                </a:cubicBezTo>
                <a:lnTo>
                  <a:pt x="308652" y="308652"/>
                </a:lnTo>
                <a:cubicBezTo>
                  <a:pt x="308652" y="327583"/>
                  <a:pt x="293288" y="342947"/>
                  <a:pt x="274357" y="342947"/>
                </a:cubicBezTo>
                <a:lnTo>
                  <a:pt x="68589" y="342947"/>
                </a:lnTo>
                <a:cubicBezTo>
                  <a:pt x="49659" y="342947"/>
                  <a:pt x="34295" y="327583"/>
                  <a:pt x="34295" y="308652"/>
                </a:cubicBezTo>
                <a:lnTo>
                  <a:pt x="34295" y="244350"/>
                </a:lnTo>
                <a:cubicBezTo>
                  <a:pt x="34295" y="237247"/>
                  <a:pt x="40053" y="231489"/>
                  <a:pt x="47155" y="231489"/>
                </a:cubicBezTo>
                <a:cubicBezTo>
                  <a:pt x="54258" y="231489"/>
                  <a:pt x="60016" y="237247"/>
                  <a:pt x="60016" y="244350"/>
                </a:cubicBezTo>
                <a:lnTo>
                  <a:pt x="60016" y="308652"/>
                </a:lnTo>
                <a:cubicBezTo>
                  <a:pt x="60016" y="313368"/>
                  <a:pt x="63857" y="317226"/>
                  <a:pt x="68589" y="317226"/>
                </a:cubicBezTo>
                <a:lnTo>
                  <a:pt x="274357" y="317226"/>
                </a:lnTo>
                <a:close/>
                <a:moveTo>
                  <a:pt x="263692" y="111458"/>
                </a:moveTo>
                <a:lnTo>
                  <a:pt x="197194" y="44943"/>
                </a:lnTo>
                <a:lnTo>
                  <a:pt x="197194" y="102884"/>
                </a:lnTo>
                <a:cubicBezTo>
                  <a:pt x="197194" y="107600"/>
                  <a:pt x="201035" y="111458"/>
                  <a:pt x="205768" y="111458"/>
                </a:cubicBezTo>
                <a:lnTo>
                  <a:pt x="263692" y="111458"/>
                </a:lnTo>
                <a:close/>
                <a:moveTo>
                  <a:pt x="12861" y="188621"/>
                </a:moveTo>
                <a:lnTo>
                  <a:pt x="55816" y="188621"/>
                </a:lnTo>
                <a:lnTo>
                  <a:pt x="82509" y="127729"/>
                </a:lnTo>
                <a:cubicBezTo>
                  <a:pt x="86773" y="118001"/>
                  <a:pt x="100063" y="117507"/>
                  <a:pt x="105265" y="126170"/>
                </a:cubicBezTo>
                <a:lnTo>
                  <a:pt x="105363" y="126333"/>
                </a:lnTo>
                <a:lnTo>
                  <a:pt x="106226" y="128111"/>
                </a:lnTo>
                <a:lnTo>
                  <a:pt x="147606" y="231450"/>
                </a:lnTo>
                <a:lnTo>
                  <a:pt x="172070" y="195444"/>
                </a:lnTo>
                <a:cubicBezTo>
                  <a:pt x="173980" y="191848"/>
                  <a:pt x="177463" y="189399"/>
                  <a:pt x="181422" y="188777"/>
                </a:cubicBezTo>
                <a:lnTo>
                  <a:pt x="181606" y="188748"/>
                </a:lnTo>
                <a:lnTo>
                  <a:pt x="183427" y="188619"/>
                </a:lnTo>
                <a:lnTo>
                  <a:pt x="217720" y="188619"/>
                </a:lnTo>
                <a:cubicBezTo>
                  <a:pt x="224822" y="188619"/>
                  <a:pt x="230580" y="194377"/>
                  <a:pt x="230580" y="201479"/>
                </a:cubicBezTo>
                <a:cubicBezTo>
                  <a:pt x="230580" y="207920"/>
                  <a:pt x="225844" y="213260"/>
                  <a:pt x="219659" y="214196"/>
                </a:cubicBezTo>
                <a:lnTo>
                  <a:pt x="219482" y="214222"/>
                </a:lnTo>
                <a:lnTo>
                  <a:pt x="217720" y="214340"/>
                </a:lnTo>
                <a:lnTo>
                  <a:pt x="191069" y="214340"/>
                </a:lnTo>
                <a:lnTo>
                  <a:pt x="157140" y="267390"/>
                </a:lnTo>
                <a:cubicBezTo>
                  <a:pt x="152421" y="276415"/>
                  <a:pt x="139749" y="276484"/>
                  <a:pt x="134747" y="268088"/>
                </a:cubicBezTo>
                <a:lnTo>
                  <a:pt x="134651" y="267929"/>
                </a:lnTo>
                <a:lnTo>
                  <a:pt x="133814" y="266195"/>
                </a:lnTo>
                <a:lnTo>
                  <a:pt x="93751" y="166147"/>
                </a:lnTo>
                <a:lnTo>
                  <a:pt x="75999" y="206644"/>
                </a:lnTo>
                <a:cubicBezTo>
                  <a:pt x="74345" y="210418"/>
                  <a:pt x="71015" y="213114"/>
                  <a:pt x="67108" y="214014"/>
                </a:cubicBezTo>
                <a:cubicBezTo>
                  <a:pt x="66847" y="214074"/>
                  <a:pt x="66584" y="214126"/>
                  <a:pt x="66319" y="214170"/>
                </a:cubicBezTo>
                <a:lnTo>
                  <a:pt x="66128" y="214201"/>
                </a:lnTo>
                <a:lnTo>
                  <a:pt x="64220" y="214342"/>
                </a:lnTo>
                <a:lnTo>
                  <a:pt x="12861" y="214342"/>
                </a:lnTo>
                <a:cubicBezTo>
                  <a:pt x="5758" y="214342"/>
                  <a:pt x="0" y="208584"/>
                  <a:pt x="0" y="201481"/>
                </a:cubicBezTo>
                <a:cubicBezTo>
                  <a:pt x="0" y="195041"/>
                  <a:pt x="4736" y="189701"/>
                  <a:pt x="10921" y="188766"/>
                </a:cubicBezTo>
                <a:lnTo>
                  <a:pt x="11097" y="188739"/>
                </a:lnTo>
                <a:lnTo>
                  <a:pt x="12861" y="188621"/>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30476318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71237F-E862-4584-F8E2-D35E6EED9C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C0DF0F-2CA7-6DB1-2142-03008E007C92}"/>
              </a:ext>
            </a:extLst>
          </p:cNvPr>
          <p:cNvSpPr>
            <a:spLocks noGrp="1"/>
          </p:cNvSpPr>
          <p:nvPr>
            <p:ph type="title"/>
          </p:nvPr>
        </p:nvSpPr>
        <p:spPr>
          <a:xfrm>
            <a:off x="588263" y="457200"/>
            <a:ext cx="11018520" cy="553998"/>
          </a:xfrm>
        </p:spPr>
        <p:txBody>
          <a:bodyPr/>
          <a:lstStyle/>
          <a:p>
            <a:r>
              <a:rPr lang="en-US" noProof="0" dirty="0"/>
              <a:t>KPI – </a:t>
            </a:r>
            <a:r>
              <a:rPr lang="en-US" noProof="0" dirty="0">
                <a:gradFill>
                  <a:gsLst>
                    <a:gs pos="35000">
                      <a:srgbClr val="0078D4"/>
                    </a:gs>
                    <a:gs pos="0">
                      <a:srgbClr val="C03BC4"/>
                    </a:gs>
                  </a:gsLst>
                  <a:path path="circle">
                    <a:fillToRect l="100000" t="100000"/>
                  </a:path>
                </a:gradFill>
              </a:rPr>
              <a:t>Customer satisfaction</a:t>
            </a:r>
          </a:p>
        </p:txBody>
      </p:sp>
      <p:sp>
        <p:nvSpPr>
          <p:cNvPr id="7" name="Rectangle: Rounded Corners 81">
            <a:extLst>
              <a:ext uri="{FF2B5EF4-FFF2-40B4-BE49-F238E27FC236}">
                <a16:creationId xmlns:a16="http://schemas.microsoft.com/office/drawing/2014/main" id="{EB85F416-9354-F414-F4A9-BEF7BBD92FCE}"/>
              </a:ext>
              <a:ext uri="{C183D7F6-B498-43B3-948B-1728B52AA6E4}">
                <adec:decorative xmlns:adec="http://schemas.microsoft.com/office/drawing/2017/decorative" val="1"/>
              </a:ext>
            </a:extLst>
          </p:cNvPr>
          <p:cNvSpPr>
            <a:spLocks/>
          </p:cNvSpPr>
          <p:nvPr/>
        </p:nvSpPr>
        <p:spPr bwMode="auto">
          <a:xfrm>
            <a:off x="571500" y="1187448"/>
            <a:ext cx="11017250" cy="5161779"/>
          </a:xfrm>
          <a:prstGeom prst="roundRect">
            <a:avLst>
              <a:gd name="adj" fmla="val 3245"/>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8" name="Rounded Rectangle 53">
            <a:extLst>
              <a:ext uri="{FF2B5EF4-FFF2-40B4-BE49-F238E27FC236}">
                <a16:creationId xmlns:a16="http://schemas.microsoft.com/office/drawing/2014/main" id="{04F38BF2-AC96-F394-DD5D-FFC74B337754}"/>
              </a:ext>
            </a:extLst>
          </p:cNvPr>
          <p:cNvSpPr>
            <a:spLocks/>
          </p:cNvSpPr>
          <p:nvPr/>
        </p:nvSpPr>
        <p:spPr bwMode="auto">
          <a:xfrm>
            <a:off x="662940" y="4061815"/>
            <a:ext cx="5670614" cy="2195972"/>
          </a:xfrm>
          <a:prstGeom prst="roundRect">
            <a:avLst>
              <a:gd name="adj" fmla="val 4803"/>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defTabSz="932472" fontAlgn="base">
              <a:spcBef>
                <a:spcPct val="0"/>
              </a:spcBef>
              <a:spcAft>
                <a:spcPct val="0"/>
              </a:spcAft>
              <a:defRPr/>
            </a:pPr>
            <a:r>
              <a:rPr lang="en-US" sz="1400" noProof="0" dirty="0">
                <a:ln w="3175">
                  <a:noFill/>
                </a:ln>
                <a:gradFill flip="none" rotWithShape="1">
                  <a:gsLst>
                    <a:gs pos="51000">
                      <a:srgbClr val="0078D4"/>
                    </a:gs>
                    <a:gs pos="0">
                      <a:srgbClr val="C03BC4"/>
                    </a:gs>
                  </a:gsLst>
                  <a:lin ang="13500000" scaled="1"/>
                  <a:tileRect/>
                </a:gradFill>
                <a:latin typeface="+mj-lt"/>
                <a:cs typeface="Segoe UI" pitchFamily="34" charset="0"/>
              </a:rPr>
              <a:t>How AI can help improve customer satisfaction</a:t>
            </a:r>
          </a:p>
        </p:txBody>
      </p:sp>
      <p:sp>
        <p:nvSpPr>
          <p:cNvPr id="9" name="Rectangle: Rounded Corners 8">
            <a:extLst>
              <a:ext uri="{FF2B5EF4-FFF2-40B4-BE49-F238E27FC236}">
                <a16:creationId xmlns:a16="http://schemas.microsoft.com/office/drawing/2014/main" id="{9FBD26F4-43FC-B691-A210-4BB4EB48ED17}"/>
              </a:ext>
            </a:extLst>
          </p:cNvPr>
          <p:cNvSpPr/>
          <p:nvPr/>
        </p:nvSpPr>
        <p:spPr bwMode="auto">
          <a:xfrm>
            <a:off x="763523" y="4526250"/>
            <a:ext cx="2603689" cy="337850"/>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b="1" noProof="0" dirty="0">
                <a:gradFill flip="none" rotWithShape="1">
                  <a:gsLst>
                    <a:gs pos="51000">
                      <a:srgbClr val="0078D4"/>
                    </a:gs>
                    <a:gs pos="0">
                      <a:srgbClr val="C03BC4"/>
                    </a:gs>
                  </a:gsLst>
                  <a:lin ang="13500000" scaled="1"/>
                  <a:tileRect/>
                </a:gradFill>
                <a:latin typeface="+mj-lt"/>
                <a:cs typeface="Segoe UI Semilight"/>
              </a:rPr>
              <a:t>Provide great experiences</a:t>
            </a:r>
          </a:p>
        </p:txBody>
      </p:sp>
      <p:sp>
        <p:nvSpPr>
          <p:cNvPr id="10" name="Rectangle: Rounded Corners 9">
            <a:extLst>
              <a:ext uri="{FF2B5EF4-FFF2-40B4-BE49-F238E27FC236}">
                <a16:creationId xmlns:a16="http://schemas.microsoft.com/office/drawing/2014/main" id="{52915980-FE01-DF2A-D49D-75C7D09FD0CA}"/>
              </a:ext>
            </a:extLst>
          </p:cNvPr>
          <p:cNvSpPr/>
          <p:nvPr/>
        </p:nvSpPr>
        <p:spPr bwMode="auto">
          <a:xfrm>
            <a:off x="3629282" y="4526250"/>
            <a:ext cx="2603689" cy="337850"/>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b="1" noProof="0" dirty="0">
                <a:gradFill flip="none" rotWithShape="1">
                  <a:gsLst>
                    <a:gs pos="51000">
                      <a:srgbClr val="0078D4"/>
                    </a:gs>
                    <a:gs pos="0">
                      <a:srgbClr val="C03BC4"/>
                    </a:gs>
                  </a:gsLst>
                  <a:lin ang="13500000" scaled="1"/>
                  <a:tileRect/>
                </a:gradFill>
                <a:latin typeface="+mj-lt"/>
                <a:cs typeface="Segoe UI Semilight"/>
              </a:rPr>
              <a:t>Enhance customer loyalty</a:t>
            </a:r>
          </a:p>
        </p:txBody>
      </p:sp>
      <p:pic>
        <p:nvPicPr>
          <p:cNvPr id="12" name="Picture 11" descr="Photo of sales meeting">
            <a:extLst>
              <a:ext uri="{FF2B5EF4-FFF2-40B4-BE49-F238E27FC236}">
                <a16:creationId xmlns:a16="http://schemas.microsoft.com/office/drawing/2014/main" id="{4EC1ADD3-92D8-CE59-A5A0-6AAB8EE0EB9C}"/>
              </a:ext>
            </a:extLst>
          </p:cNvPr>
          <p:cNvPicPr>
            <a:picLocks/>
          </p:cNvPicPr>
          <p:nvPr/>
        </p:nvPicPr>
        <p:blipFill rotWithShape="1">
          <a:blip r:embed="rId2" cstate="screen">
            <a:extLst>
              <a:ext uri="{28A0092B-C50C-407E-A947-70E740481C1C}">
                <a14:useLocalDpi xmlns:a14="http://schemas.microsoft.com/office/drawing/2010/main"/>
              </a:ext>
            </a:extLst>
          </a:blip>
          <a:srcRect l="19173" r="10691"/>
          <a:stretch/>
        </p:blipFill>
        <p:spPr>
          <a:xfrm>
            <a:off x="662939" y="1278888"/>
            <a:ext cx="5670614" cy="1908701"/>
          </a:xfrm>
          <a:prstGeom prst="roundRect">
            <a:avLst>
              <a:gd name="adj" fmla="val 5305"/>
            </a:avLst>
          </a:prstGeom>
          <a:solidFill>
            <a:schemeClr val="bg1">
              <a:alpha val="70000"/>
            </a:schemeClr>
          </a:solidFill>
          <a:ln w="6350">
            <a:solidFill>
              <a:schemeClr val="bg1">
                <a:lumMod val="95000"/>
              </a:schemeClr>
            </a:solidFill>
          </a:ln>
          <a:effectLst/>
        </p:spPr>
      </p:pic>
      <p:sp>
        <p:nvSpPr>
          <p:cNvPr id="13" name="Text Placeholder 33">
            <a:extLst>
              <a:ext uri="{FF2B5EF4-FFF2-40B4-BE49-F238E27FC236}">
                <a16:creationId xmlns:a16="http://schemas.microsoft.com/office/drawing/2014/main" id="{AB594061-A12C-EE10-B116-D76D08BC78A3}"/>
              </a:ext>
            </a:extLst>
          </p:cNvPr>
          <p:cNvSpPr txBox="1">
            <a:spLocks/>
          </p:cNvSpPr>
          <p:nvPr/>
        </p:nvSpPr>
        <p:spPr>
          <a:xfrm>
            <a:off x="763523" y="3274895"/>
            <a:ext cx="5469448" cy="553998"/>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effectLst/>
                <a:uLnTx/>
                <a:uFillTx/>
                <a:ea typeface="+mn-ea"/>
                <a:cs typeface="Segoe UI" panose="020B0502040204020203" pitchFamily="34" charset="0"/>
              </a:rPr>
              <a:t>Customer satisfaction is crucial for retaining customers, encouraging repeat business, and fostering positive word-of-mouth. Retailers that prioritize customer satisfaction often see increased loyalty and long-term success.</a:t>
            </a:r>
          </a:p>
        </p:txBody>
      </p:sp>
      <p:sp>
        <p:nvSpPr>
          <p:cNvPr id="14" name="TextBox 13">
            <a:extLst>
              <a:ext uri="{FF2B5EF4-FFF2-40B4-BE49-F238E27FC236}">
                <a16:creationId xmlns:a16="http://schemas.microsoft.com/office/drawing/2014/main" id="{BC0C13C1-B9A8-ACB1-9945-F8795DB48F22}"/>
              </a:ext>
            </a:extLst>
          </p:cNvPr>
          <p:cNvSpPr txBox="1"/>
          <p:nvPr/>
        </p:nvSpPr>
        <p:spPr>
          <a:xfrm>
            <a:off x="763523" y="4959950"/>
            <a:ext cx="2603689" cy="907941"/>
          </a:xfrm>
          <a:prstGeom prst="rect">
            <a:avLst/>
          </a:prstGeom>
          <a:noFill/>
        </p:spPr>
        <p:txBody>
          <a:bodyPr wrap="square" lIns="0" tIns="0" rIns="0" bIns="0">
            <a:spAutoFit/>
          </a:bodyPr>
          <a:lstStyle/>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ea typeface="+mn-ea"/>
                <a:cs typeface="Segoe UI" panose="020B0502040204020203" pitchFamily="34" charset="0"/>
              </a:rPr>
              <a:t>Rapidly analyze customer feedback</a:t>
            </a:r>
          </a:p>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ea typeface="+mn-ea"/>
                <a:cs typeface="Segoe UI" panose="020B0502040204020203" pitchFamily="34" charset="0"/>
              </a:rPr>
              <a:t>Provide personalized experiences</a:t>
            </a:r>
          </a:p>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lang="en-US" sz="1100" dirty="0">
                <a:cs typeface="Segoe UI" panose="020B0502040204020203" pitchFamily="34" charset="0"/>
              </a:rPr>
              <a:t>Simplify returns and inquiries</a:t>
            </a:r>
          </a:p>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ea typeface="+mn-ea"/>
                <a:cs typeface="Segoe UI" panose="020B0502040204020203" pitchFamily="34" charset="0"/>
              </a:rPr>
              <a:t>Improve consistency</a:t>
            </a:r>
          </a:p>
        </p:txBody>
      </p:sp>
      <p:sp>
        <p:nvSpPr>
          <p:cNvPr id="15" name="TextBox 14">
            <a:extLst>
              <a:ext uri="{FF2B5EF4-FFF2-40B4-BE49-F238E27FC236}">
                <a16:creationId xmlns:a16="http://schemas.microsoft.com/office/drawing/2014/main" id="{B0140D75-7E2D-A511-7DE3-BCAD85E19FC9}"/>
              </a:ext>
            </a:extLst>
          </p:cNvPr>
          <p:cNvSpPr txBox="1"/>
          <p:nvPr/>
        </p:nvSpPr>
        <p:spPr>
          <a:xfrm>
            <a:off x="3629282" y="4959950"/>
            <a:ext cx="2603689" cy="907941"/>
          </a:xfrm>
          <a:prstGeom prst="rect">
            <a:avLst/>
          </a:prstGeom>
          <a:noFill/>
        </p:spPr>
        <p:txBody>
          <a:bodyPr wrap="square" lIns="0" tIns="0" rIns="0" bIns="0">
            <a:spAutoFit/>
          </a:bodyPr>
          <a:lstStyle/>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ea typeface="+mn-ea"/>
                <a:cs typeface="Segoe UI" panose="020B0502040204020203" pitchFamily="34" charset="0"/>
              </a:rPr>
              <a:t>Better understand customers</a:t>
            </a:r>
          </a:p>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ea typeface="+mn-ea"/>
                <a:cs typeface="Segoe UI" panose="020B0502040204020203" pitchFamily="34" charset="0"/>
              </a:rPr>
              <a:t>Resolve issues on the first call</a:t>
            </a:r>
          </a:p>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ea typeface="+mn-ea"/>
                <a:cs typeface="Segoe UI" panose="020B0502040204020203" pitchFamily="34" charset="0"/>
              </a:rPr>
              <a:t>Improve product selection and quality</a:t>
            </a:r>
          </a:p>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lang="en-US" sz="1100" dirty="0">
                <a:cs typeface="Segoe UI" panose="020B0502040204020203" pitchFamily="34" charset="0"/>
              </a:rPr>
              <a:t>Avoid stockouts</a:t>
            </a:r>
            <a:endParaRPr kumimoji="0" lang="en-US" sz="1100" b="0" i="0" u="none" strike="noStrike" kern="1200" cap="none" spc="0" normalizeH="0" baseline="0" noProof="0" dirty="0">
              <a:ln>
                <a:noFill/>
              </a:ln>
              <a:effectLst/>
              <a:uLnTx/>
              <a:uFillTx/>
              <a:ea typeface="+mn-ea"/>
              <a:cs typeface="Segoe UI" panose="020B0502040204020203" pitchFamily="34" charset="0"/>
            </a:endParaRPr>
          </a:p>
        </p:txBody>
      </p:sp>
      <p:sp>
        <p:nvSpPr>
          <p:cNvPr id="21" name="Rounded Rectangle 53">
            <a:extLst>
              <a:ext uri="{FF2B5EF4-FFF2-40B4-BE49-F238E27FC236}">
                <a16:creationId xmlns:a16="http://schemas.microsoft.com/office/drawing/2014/main" id="{BF19F0BB-8D56-0950-9B55-89E011F0694E}"/>
              </a:ext>
            </a:extLst>
          </p:cNvPr>
          <p:cNvSpPr>
            <a:spLocks/>
          </p:cNvSpPr>
          <p:nvPr/>
        </p:nvSpPr>
        <p:spPr bwMode="auto">
          <a:xfrm>
            <a:off x="6424994" y="1278888"/>
            <a:ext cx="5072316" cy="4978899"/>
          </a:xfrm>
          <a:prstGeom prst="roundRect">
            <a:avLst>
              <a:gd name="adj" fmla="val 2006"/>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defRPr/>
            </a:pPr>
            <a:endParaRPr kumimoji="0" lang="en-US" sz="1600" b="0" i="0" u="none" strike="noStrike" kern="1200" cap="none" spc="0" normalizeH="0" baseline="0" noProof="0">
              <a:ln>
                <a:noFill/>
              </a:ln>
              <a:gradFill flip="none" rotWithShape="1">
                <a:gsLst>
                  <a:gs pos="37000">
                    <a:srgbClr val="0078D4"/>
                  </a:gs>
                  <a:gs pos="100000">
                    <a:srgbClr val="C03BC4"/>
                  </a:gs>
                </a:gsLst>
                <a:path path="circle">
                  <a:fillToRect r="100000" b="100000"/>
                </a:path>
                <a:tileRect l="-100000" t="-100000"/>
              </a:gradFill>
              <a:effectLst/>
              <a:uLnTx/>
              <a:uFillTx/>
              <a:latin typeface="+mj-lt"/>
              <a:ea typeface="+mn-ea"/>
              <a:cs typeface="+mn-cs"/>
            </a:endParaRPr>
          </a:p>
        </p:txBody>
      </p:sp>
      <p:sp>
        <p:nvSpPr>
          <p:cNvPr id="22" name="Rectangle: Rounded Corners 21">
            <a:extLst>
              <a:ext uri="{FF2B5EF4-FFF2-40B4-BE49-F238E27FC236}">
                <a16:creationId xmlns:a16="http://schemas.microsoft.com/office/drawing/2014/main" id="{43BA0E81-0A1D-F84B-5BF7-BA1F330813F4}"/>
              </a:ext>
            </a:extLst>
          </p:cNvPr>
          <p:cNvSpPr>
            <a:spLocks/>
          </p:cNvSpPr>
          <p:nvPr/>
        </p:nvSpPr>
        <p:spPr bwMode="auto">
          <a:xfrm>
            <a:off x="6527800" y="1370328"/>
            <a:ext cx="4866704" cy="401322"/>
          </a:xfrm>
          <a:prstGeom prst="roundRect">
            <a:avLst>
              <a:gd name="adj" fmla="val 2072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noProof="0" dirty="0">
                <a:gradFill flip="none" rotWithShape="1">
                  <a:gsLst>
                    <a:gs pos="0">
                      <a:srgbClr val="C03BC4"/>
                    </a:gs>
                    <a:gs pos="56000">
                      <a:srgbClr val="0078D4"/>
                    </a:gs>
                  </a:gsLst>
                  <a:lin ang="13500000" scaled="1"/>
                  <a:tileRect/>
                </a:gradFill>
                <a:latin typeface="+mj-lt"/>
                <a:cs typeface="Segoe UI Semilight"/>
              </a:rPr>
              <a:t>Value Calculation</a:t>
            </a:r>
          </a:p>
        </p:txBody>
      </p:sp>
      <p:sp>
        <p:nvSpPr>
          <p:cNvPr id="23" name="TextBox 22">
            <a:extLst>
              <a:ext uri="{FF2B5EF4-FFF2-40B4-BE49-F238E27FC236}">
                <a16:creationId xmlns:a16="http://schemas.microsoft.com/office/drawing/2014/main" id="{43DB2F5D-24CB-6FD6-1498-212BDC23A73E}"/>
              </a:ext>
            </a:extLst>
          </p:cNvPr>
          <p:cNvSpPr txBox="1">
            <a:spLocks/>
          </p:cNvSpPr>
          <p:nvPr/>
        </p:nvSpPr>
        <p:spPr>
          <a:xfrm>
            <a:off x="6528482" y="1924744"/>
            <a:ext cx="4865340" cy="3739485"/>
          </a:xfrm>
          <a:prstGeom prst="rect">
            <a:avLst/>
          </a:prstGeom>
          <a:noFill/>
        </p:spPr>
        <p:txBody>
          <a:bodyPr wrap="square" lIns="0" tIns="0" rIns="0" bIns="0">
            <a:spAutoFit/>
          </a:bodyPr>
          <a:lstStyle/>
          <a:p>
            <a:pPr algn="l">
              <a:spcAft>
                <a:spcPts val="600"/>
              </a:spcAft>
            </a:pPr>
            <a:r>
              <a:rPr lang="en-US" sz="1100" i="0" u="none" strike="noStrike" noProof="0" dirty="0">
                <a:effectLst/>
              </a:rPr>
              <a:t>There are many ways to measure customer satisfaction, but it is most common to use some type of survey or feedback mechanism. Then the results can be turned into a CSAT or NPS value.</a:t>
            </a:r>
          </a:p>
          <a:p>
            <a:pPr algn="l">
              <a:spcAft>
                <a:spcPts val="600"/>
              </a:spcAft>
            </a:pPr>
            <a:r>
              <a:rPr lang="en-US" sz="1100" noProof="0" dirty="0"/>
              <a:t>CSAT would be adding up all of the scores and dividing by the total possible</a:t>
            </a:r>
            <a:r>
              <a:rPr lang="en-US" sz="1100" noProof="0" dirty="0">
                <a:latin typeface="+mj-lt"/>
              </a:rPr>
              <a:t> </a:t>
            </a:r>
            <a:endParaRPr lang="en-US" sz="1100" i="0" u="none" strike="noStrike" noProof="0" dirty="0">
              <a:effectLst/>
            </a:endParaRPr>
          </a:p>
          <a:p>
            <a:pPr>
              <a:spcBef>
                <a:spcPts val="600"/>
              </a:spcBef>
              <a:spcAft>
                <a:spcPts val="600"/>
              </a:spcAft>
            </a:pPr>
            <a:r>
              <a:rPr lang="en-US" sz="1100" b="1" noProof="0" dirty="0"/>
              <a:t>Example</a:t>
            </a:r>
          </a:p>
          <a:p>
            <a:pPr>
              <a:spcAft>
                <a:spcPts val="600"/>
              </a:spcAft>
            </a:pPr>
            <a:r>
              <a:rPr lang="en-US" sz="1100" i="0" u="none" strike="noStrike" noProof="0" dirty="0">
                <a:effectLst/>
              </a:rPr>
              <a:t>You ask 10 people to rate your service on a scale of 1-10. Four people respond with 8 and 6 people respond with 7. You can add all of the scores – 8+8+8+8+7+7+7+7+7+7 = 74. The total possible was 100. So you receive 74 out of 100 or 74%</a:t>
            </a:r>
          </a:p>
          <a:p>
            <a:pPr>
              <a:spcAft>
                <a:spcPts val="600"/>
              </a:spcAft>
            </a:pPr>
            <a:r>
              <a:rPr lang="en-US" sz="1100" noProof="0" dirty="0"/>
              <a:t>NPS is based on how likely someone is to recommend your service. You could still ask for a response from 1-10 and then assume that some level is prompter – say 8 and up and some level is detractors – say 6 and down.</a:t>
            </a:r>
          </a:p>
          <a:p>
            <a:pPr>
              <a:spcAft>
                <a:spcPts val="600"/>
              </a:spcAft>
            </a:pPr>
            <a:r>
              <a:rPr lang="en-US" sz="1100" noProof="0" dirty="0"/>
              <a:t>NPS is the % of promoters - % of detractors.</a:t>
            </a:r>
          </a:p>
          <a:p>
            <a:pPr>
              <a:spcAft>
                <a:spcPts val="600"/>
              </a:spcAft>
            </a:pPr>
            <a:endParaRPr lang="en-US" sz="1100" noProof="0" dirty="0"/>
          </a:p>
          <a:p>
            <a:pPr>
              <a:spcAft>
                <a:spcPts val="600"/>
              </a:spcAft>
            </a:pPr>
            <a:r>
              <a:rPr lang="en-US" sz="1100" noProof="0" dirty="0"/>
              <a:t>To measure a financial value, you’d need to see how customer satisfaction was reflected in other metrics like customer retention or number of new customers.</a:t>
            </a:r>
          </a:p>
          <a:p>
            <a:pPr>
              <a:spcAft>
                <a:spcPts val="600"/>
              </a:spcAft>
            </a:pPr>
            <a:endParaRPr lang="en-US" sz="1100" i="0" u="none" strike="noStrike" noProof="0" dirty="0">
              <a:effectLst/>
            </a:endParaRPr>
          </a:p>
        </p:txBody>
      </p:sp>
      <p:sp>
        <p:nvSpPr>
          <p:cNvPr id="24" name="Graphic 40">
            <a:extLst>
              <a:ext uri="{FF2B5EF4-FFF2-40B4-BE49-F238E27FC236}">
                <a16:creationId xmlns:a16="http://schemas.microsoft.com/office/drawing/2014/main" id="{55A59A5A-8863-23E7-45CC-FB959A313806}"/>
              </a:ext>
            </a:extLst>
          </p:cNvPr>
          <p:cNvSpPr/>
          <p:nvPr/>
        </p:nvSpPr>
        <p:spPr>
          <a:xfrm>
            <a:off x="6610350" y="1476092"/>
            <a:ext cx="210860" cy="189794"/>
          </a:xfrm>
          <a:custGeom>
            <a:avLst/>
            <a:gdLst>
              <a:gd name="connsiteX0" fmla="*/ 152390 w 190480"/>
              <a:gd name="connsiteY0" fmla="*/ 0 h 171450"/>
              <a:gd name="connsiteX1" fmla="*/ 158153 w 190480"/>
              <a:gd name="connsiteY1" fmla="*/ 2915 h 171450"/>
              <a:gd name="connsiteX2" fmla="*/ 158677 w 190480"/>
              <a:gd name="connsiteY2" fmla="*/ 3743 h 171450"/>
              <a:gd name="connsiteX3" fmla="*/ 189757 w 190480"/>
              <a:gd name="connsiteY3" fmla="*/ 61160 h 171450"/>
              <a:gd name="connsiteX4" fmla="*/ 190119 w 190480"/>
              <a:gd name="connsiteY4" fmla="*/ 62046 h 171450"/>
              <a:gd name="connsiteX5" fmla="*/ 190233 w 190480"/>
              <a:gd name="connsiteY5" fmla="*/ 62427 h 171450"/>
              <a:gd name="connsiteX6" fmla="*/ 190424 w 190480"/>
              <a:gd name="connsiteY6" fmla="*/ 63398 h 171450"/>
              <a:gd name="connsiteX7" fmla="*/ 190481 w 190480"/>
              <a:gd name="connsiteY7" fmla="*/ 64294 h 171450"/>
              <a:gd name="connsiteX8" fmla="*/ 190224 w 190480"/>
              <a:gd name="connsiteY8" fmla="*/ 66199 h 171450"/>
              <a:gd name="connsiteX9" fmla="*/ 189776 w 190480"/>
              <a:gd name="connsiteY9" fmla="*/ 67389 h 171450"/>
              <a:gd name="connsiteX10" fmla="*/ 189414 w 190480"/>
              <a:gd name="connsiteY10" fmla="*/ 68047 h 171450"/>
              <a:gd name="connsiteX11" fmla="*/ 188700 w 190480"/>
              <a:gd name="connsiteY11" fmla="*/ 69018 h 171450"/>
              <a:gd name="connsiteX12" fmla="*/ 189271 w 190480"/>
              <a:gd name="connsiteY12" fmla="*/ 68275 h 171450"/>
              <a:gd name="connsiteX13" fmla="*/ 189033 w 190480"/>
              <a:gd name="connsiteY13" fmla="*/ 68609 h 171450"/>
              <a:gd name="connsiteX14" fmla="*/ 100927 w 190480"/>
              <a:gd name="connsiteY14" fmla="*/ 168669 h 171450"/>
              <a:gd name="connsiteX15" fmla="*/ 98098 w 190480"/>
              <a:gd name="connsiteY15" fmla="*/ 170879 h 171450"/>
              <a:gd name="connsiteX16" fmla="*/ 97165 w 190480"/>
              <a:gd name="connsiteY16" fmla="*/ 171193 h 171450"/>
              <a:gd name="connsiteX17" fmla="*/ 96422 w 190480"/>
              <a:gd name="connsiteY17" fmla="*/ 171355 h 171450"/>
              <a:gd name="connsiteX18" fmla="*/ 95250 w 190480"/>
              <a:gd name="connsiteY18" fmla="*/ 171450 h 171450"/>
              <a:gd name="connsiteX19" fmla="*/ 94298 w 190480"/>
              <a:gd name="connsiteY19" fmla="*/ 171393 h 171450"/>
              <a:gd name="connsiteX20" fmla="*/ 93174 w 190480"/>
              <a:gd name="connsiteY20" fmla="*/ 171145 h 171450"/>
              <a:gd name="connsiteX21" fmla="*/ 91516 w 190480"/>
              <a:gd name="connsiteY21" fmla="*/ 170421 h 171450"/>
              <a:gd name="connsiteX22" fmla="*/ 91430 w 190480"/>
              <a:gd name="connsiteY22" fmla="*/ 170355 h 171450"/>
              <a:gd name="connsiteX23" fmla="*/ 90192 w 190480"/>
              <a:gd name="connsiteY23" fmla="*/ 169364 h 171450"/>
              <a:gd name="connsiteX24" fmla="*/ 1705 w 190480"/>
              <a:gd name="connsiteY24" fmla="*/ 68913 h 171450"/>
              <a:gd name="connsiteX25" fmla="*/ 1457 w 190480"/>
              <a:gd name="connsiteY25" fmla="*/ 68609 h 171450"/>
              <a:gd name="connsiteX26" fmla="*/ 1076 w 190480"/>
              <a:gd name="connsiteY26" fmla="*/ 68047 h 171450"/>
              <a:gd name="connsiteX27" fmla="*/ 67 w 190480"/>
              <a:gd name="connsiteY27" fmla="*/ 65180 h 171450"/>
              <a:gd name="connsiteX28" fmla="*/ 0 w 190480"/>
              <a:gd name="connsiteY28" fmla="*/ 64294 h 171450"/>
              <a:gd name="connsiteX29" fmla="*/ 29 w 190480"/>
              <a:gd name="connsiteY29" fmla="*/ 63665 h 171450"/>
              <a:gd name="connsiteX30" fmla="*/ 152 w 190480"/>
              <a:gd name="connsiteY30" fmla="*/ 62817 h 171450"/>
              <a:gd name="connsiteX31" fmla="*/ 381 w 190480"/>
              <a:gd name="connsiteY31" fmla="*/ 61998 h 171450"/>
              <a:gd name="connsiteX32" fmla="*/ 591 w 190480"/>
              <a:gd name="connsiteY32" fmla="*/ 61436 h 171450"/>
              <a:gd name="connsiteX33" fmla="*/ 857 w 190480"/>
              <a:gd name="connsiteY33" fmla="*/ 60893 h 171450"/>
              <a:gd name="connsiteX34" fmla="*/ 31814 w 190480"/>
              <a:gd name="connsiteY34" fmla="*/ 3743 h 171450"/>
              <a:gd name="connsiteX35" fmla="*/ 37119 w 190480"/>
              <a:gd name="connsiteY35" fmla="*/ 67 h 171450"/>
              <a:gd name="connsiteX36" fmla="*/ 38090 w 190480"/>
              <a:gd name="connsiteY36" fmla="*/ 0 h 171450"/>
              <a:gd name="connsiteX37" fmla="*/ 152390 w 190480"/>
              <a:gd name="connsiteY37" fmla="*/ 0 h 171450"/>
              <a:gd name="connsiteX38" fmla="*/ 123796 w 190480"/>
              <a:gd name="connsiteY38" fmla="*/ 71438 h 171450"/>
              <a:gd name="connsiteX39" fmla="*/ 66656 w 190480"/>
              <a:gd name="connsiteY39" fmla="*/ 71438 h 171450"/>
              <a:gd name="connsiteX40" fmla="*/ 95231 w 190480"/>
              <a:gd name="connsiteY40" fmla="*/ 144656 h 171450"/>
              <a:gd name="connsiteX41" fmla="*/ 123796 w 190480"/>
              <a:gd name="connsiteY41" fmla="*/ 71438 h 171450"/>
              <a:gd name="connsiteX42" fmla="*/ 51330 w 190480"/>
              <a:gd name="connsiteY42" fmla="*/ 71438 h 171450"/>
              <a:gd name="connsiteX43" fmla="*/ 22946 w 190480"/>
              <a:gd name="connsiteY43" fmla="*/ 71438 h 171450"/>
              <a:gd name="connsiteX44" fmla="*/ 73914 w 190480"/>
              <a:gd name="connsiteY44" fmla="*/ 129292 h 171450"/>
              <a:gd name="connsiteX45" fmla="*/ 51330 w 190480"/>
              <a:gd name="connsiteY45" fmla="*/ 71438 h 171450"/>
              <a:gd name="connsiteX46" fmla="*/ 167516 w 190480"/>
              <a:gd name="connsiteY46" fmla="*/ 71438 h 171450"/>
              <a:gd name="connsiteX47" fmla="*/ 139141 w 190480"/>
              <a:gd name="connsiteY47" fmla="*/ 71438 h 171450"/>
              <a:gd name="connsiteX48" fmla="*/ 116586 w 190480"/>
              <a:gd name="connsiteY48" fmla="*/ 129254 h 171450"/>
              <a:gd name="connsiteX49" fmla="*/ 167516 w 190480"/>
              <a:gd name="connsiteY49" fmla="*/ 71438 h 171450"/>
              <a:gd name="connsiteX50" fmla="*/ 66399 w 190480"/>
              <a:gd name="connsiteY50" fmla="*/ 14288 h 171450"/>
              <a:gd name="connsiteX51" fmla="*/ 42339 w 190480"/>
              <a:gd name="connsiteY51" fmla="*/ 14288 h 171450"/>
              <a:gd name="connsiteX52" fmla="*/ 19117 w 190480"/>
              <a:gd name="connsiteY52" fmla="*/ 57150 h 171450"/>
              <a:gd name="connsiteX53" fmla="*/ 52683 w 190480"/>
              <a:gd name="connsiteY53" fmla="*/ 57150 h 171450"/>
              <a:gd name="connsiteX54" fmla="*/ 66399 w 190480"/>
              <a:gd name="connsiteY54" fmla="*/ 14288 h 171450"/>
              <a:gd name="connsiteX55" fmla="*/ 109071 w 190480"/>
              <a:gd name="connsiteY55" fmla="*/ 14288 h 171450"/>
              <a:gd name="connsiteX56" fmla="*/ 81401 w 190480"/>
              <a:gd name="connsiteY56" fmla="*/ 14288 h 171450"/>
              <a:gd name="connsiteX57" fmla="*/ 67675 w 190480"/>
              <a:gd name="connsiteY57" fmla="*/ 57150 h 171450"/>
              <a:gd name="connsiteX58" fmla="*/ 122777 w 190480"/>
              <a:gd name="connsiteY58" fmla="*/ 57150 h 171450"/>
              <a:gd name="connsiteX59" fmla="*/ 109061 w 190480"/>
              <a:gd name="connsiteY59" fmla="*/ 14288 h 171450"/>
              <a:gd name="connsiteX60" fmla="*/ 148123 w 190480"/>
              <a:gd name="connsiteY60" fmla="*/ 14288 h 171450"/>
              <a:gd name="connsiteX61" fmla="*/ 124073 w 190480"/>
              <a:gd name="connsiteY61" fmla="*/ 14288 h 171450"/>
              <a:gd name="connsiteX62" fmla="*/ 137789 w 190480"/>
              <a:gd name="connsiteY62" fmla="*/ 57150 h 171450"/>
              <a:gd name="connsiteX63" fmla="*/ 171336 w 190480"/>
              <a:gd name="connsiteY63" fmla="*/ 57150 h 171450"/>
              <a:gd name="connsiteX64" fmla="*/ 148133 w 190480"/>
              <a:gd name="connsiteY64" fmla="*/ 14288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90480" h="171450">
                <a:moveTo>
                  <a:pt x="152390" y="0"/>
                </a:moveTo>
                <a:cubicBezTo>
                  <a:pt x="154666" y="-2"/>
                  <a:pt x="156806" y="1081"/>
                  <a:pt x="158153" y="2915"/>
                </a:cubicBezTo>
                <a:lnTo>
                  <a:pt x="158677" y="3743"/>
                </a:lnTo>
                <a:lnTo>
                  <a:pt x="189757" y="61160"/>
                </a:lnTo>
                <a:lnTo>
                  <a:pt x="190119" y="62046"/>
                </a:lnTo>
                <a:lnTo>
                  <a:pt x="190233" y="62427"/>
                </a:lnTo>
                <a:lnTo>
                  <a:pt x="190424" y="63398"/>
                </a:lnTo>
                <a:lnTo>
                  <a:pt x="190481" y="64294"/>
                </a:lnTo>
                <a:cubicBezTo>
                  <a:pt x="190482" y="64937"/>
                  <a:pt x="190395" y="65578"/>
                  <a:pt x="190224" y="66199"/>
                </a:cubicBezTo>
                <a:lnTo>
                  <a:pt x="189776" y="67389"/>
                </a:lnTo>
                <a:lnTo>
                  <a:pt x="189414" y="68047"/>
                </a:lnTo>
                <a:cubicBezTo>
                  <a:pt x="189204" y="68390"/>
                  <a:pt x="188965" y="68715"/>
                  <a:pt x="188700" y="69018"/>
                </a:cubicBezTo>
                <a:lnTo>
                  <a:pt x="189271" y="68275"/>
                </a:lnTo>
                <a:lnTo>
                  <a:pt x="189033" y="68609"/>
                </a:lnTo>
                <a:lnTo>
                  <a:pt x="100927" y="168669"/>
                </a:lnTo>
                <a:cubicBezTo>
                  <a:pt x="100195" y="169642"/>
                  <a:pt x="99219" y="170404"/>
                  <a:pt x="98098" y="170879"/>
                </a:cubicBezTo>
                <a:lnTo>
                  <a:pt x="97165" y="171193"/>
                </a:lnTo>
                <a:lnTo>
                  <a:pt x="96422" y="171355"/>
                </a:lnTo>
                <a:lnTo>
                  <a:pt x="95250" y="171450"/>
                </a:lnTo>
                <a:lnTo>
                  <a:pt x="94298" y="171393"/>
                </a:lnTo>
                <a:lnTo>
                  <a:pt x="93174" y="171145"/>
                </a:lnTo>
                <a:cubicBezTo>
                  <a:pt x="92592" y="170979"/>
                  <a:pt x="92034" y="170735"/>
                  <a:pt x="91516" y="170421"/>
                </a:cubicBezTo>
                <a:lnTo>
                  <a:pt x="91430" y="170355"/>
                </a:lnTo>
                <a:cubicBezTo>
                  <a:pt x="90978" y="170077"/>
                  <a:pt x="90563" y="169744"/>
                  <a:pt x="90192" y="169364"/>
                </a:cubicBezTo>
                <a:lnTo>
                  <a:pt x="1705" y="68913"/>
                </a:lnTo>
                <a:lnTo>
                  <a:pt x="1457" y="68609"/>
                </a:lnTo>
                <a:lnTo>
                  <a:pt x="1076" y="68047"/>
                </a:lnTo>
                <a:cubicBezTo>
                  <a:pt x="537" y="67175"/>
                  <a:pt x="192" y="66197"/>
                  <a:pt x="67" y="65180"/>
                </a:cubicBezTo>
                <a:lnTo>
                  <a:pt x="0" y="64294"/>
                </a:lnTo>
                <a:lnTo>
                  <a:pt x="29" y="63665"/>
                </a:lnTo>
                <a:lnTo>
                  <a:pt x="152" y="62817"/>
                </a:lnTo>
                <a:cubicBezTo>
                  <a:pt x="212" y="62540"/>
                  <a:pt x="288" y="62266"/>
                  <a:pt x="381" y="61998"/>
                </a:cubicBezTo>
                <a:lnTo>
                  <a:pt x="591" y="61436"/>
                </a:lnTo>
                <a:lnTo>
                  <a:pt x="857" y="60893"/>
                </a:lnTo>
                <a:lnTo>
                  <a:pt x="31814" y="3743"/>
                </a:lnTo>
                <a:cubicBezTo>
                  <a:pt x="32896" y="1743"/>
                  <a:pt x="34866" y="378"/>
                  <a:pt x="37119" y="67"/>
                </a:cubicBezTo>
                <a:lnTo>
                  <a:pt x="38090" y="0"/>
                </a:lnTo>
                <a:lnTo>
                  <a:pt x="152390" y="0"/>
                </a:lnTo>
                <a:close/>
                <a:moveTo>
                  <a:pt x="123796" y="71438"/>
                </a:moveTo>
                <a:lnTo>
                  <a:pt x="66656" y="71438"/>
                </a:lnTo>
                <a:lnTo>
                  <a:pt x="95231" y="144656"/>
                </a:lnTo>
                <a:lnTo>
                  <a:pt x="123796" y="71438"/>
                </a:lnTo>
                <a:close/>
                <a:moveTo>
                  <a:pt x="51330" y="71438"/>
                </a:moveTo>
                <a:lnTo>
                  <a:pt x="22946" y="71438"/>
                </a:lnTo>
                <a:lnTo>
                  <a:pt x="73914" y="129292"/>
                </a:lnTo>
                <a:lnTo>
                  <a:pt x="51330" y="71438"/>
                </a:lnTo>
                <a:close/>
                <a:moveTo>
                  <a:pt x="167516" y="71438"/>
                </a:moveTo>
                <a:lnTo>
                  <a:pt x="139141" y="71438"/>
                </a:lnTo>
                <a:lnTo>
                  <a:pt x="116586" y="129254"/>
                </a:lnTo>
                <a:lnTo>
                  <a:pt x="167516" y="71438"/>
                </a:lnTo>
                <a:close/>
                <a:moveTo>
                  <a:pt x="66399" y="14288"/>
                </a:moveTo>
                <a:lnTo>
                  <a:pt x="42339" y="14288"/>
                </a:lnTo>
                <a:lnTo>
                  <a:pt x="19117" y="57150"/>
                </a:lnTo>
                <a:lnTo>
                  <a:pt x="52683" y="57150"/>
                </a:lnTo>
                <a:lnTo>
                  <a:pt x="66399" y="14288"/>
                </a:lnTo>
                <a:close/>
                <a:moveTo>
                  <a:pt x="109071" y="14288"/>
                </a:moveTo>
                <a:lnTo>
                  <a:pt x="81401" y="14288"/>
                </a:lnTo>
                <a:lnTo>
                  <a:pt x="67675" y="57150"/>
                </a:lnTo>
                <a:lnTo>
                  <a:pt x="122777" y="57150"/>
                </a:lnTo>
                <a:lnTo>
                  <a:pt x="109061" y="14288"/>
                </a:lnTo>
                <a:close/>
                <a:moveTo>
                  <a:pt x="148123" y="14288"/>
                </a:moveTo>
                <a:lnTo>
                  <a:pt x="124073" y="14288"/>
                </a:lnTo>
                <a:lnTo>
                  <a:pt x="137789" y="57150"/>
                </a:lnTo>
                <a:lnTo>
                  <a:pt x="171336" y="57150"/>
                </a:lnTo>
                <a:lnTo>
                  <a:pt x="148133" y="14288"/>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600" b="1" noProof="0" dirty="0">
              <a:ln w="3175">
                <a:noFill/>
              </a:ln>
              <a:gradFill>
                <a:gsLst>
                  <a:gs pos="76437">
                    <a:srgbClr val="FFFFFF"/>
                  </a:gs>
                  <a:gs pos="55747">
                    <a:srgbClr val="FFFFFF"/>
                  </a:gs>
                </a:gsLst>
                <a:path path="circle">
                  <a:fillToRect l="100000" b="100000"/>
                </a:path>
              </a:gradFill>
              <a:latin typeface="Segoe UI Semibold"/>
              <a:cs typeface="Segoe UI" pitchFamily="34" charset="0"/>
            </a:endParaRPr>
          </a:p>
        </p:txBody>
      </p:sp>
      <p:sp>
        <p:nvSpPr>
          <p:cNvPr id="26" name="Graphic 86" descr="Icon of a person with a callout ">
            <a:extLst>
              <a:ext uri="{FF2B5EF4-FFF2-40B4-BE49-F238E27FC236}">
                <a16:creationId xmlns:a16="http://schemas.microsoft.com/office/drawing/2014/main" id="{BDFA050B-82B0-EE97-56EF-2898936239B1}"/>
              </a:ext>
            </a:extLst>
          </p:cNvPr>
          <p:cNvSpPr/>
          <p:nvPr/>
        </p:nvSpPr>
        <p:spPr>
          <a:xfrm>
            <a:off x="834388" y="4591056"/>
            <a:ext cx="215460" cy="204782"/>
          </a:xfrm>
          <a:custGeom>
            <a:avLst/>
            <a:gdLst>
              <a:gd name="connsiteX0" fmla="*/ 118070 w 269875"/>
              <a:gd name="connsiteY0" fmla="*/ 161925 h 256502"/>
              <a:gd name="connsiteX1" fmla="*/ 148431 w 269875"/>
              <a:gd name="connsiteY1" fmla="*/ 192286 h 256502"/>
              <a:gd name="connsiteX2" fmla="*/ 148431 w 269875"/>
              <a:gd name="connsiteY2" fmla="*/ 212554 h 256502"/>
              <a:gd name="connsiteX3" fmla="*/ 148323 w 269875"/>
              <a:gd name="connsiteY3" fmla="*/ 214011 h 256502"/>
              <a:gd name="connsiteX4" fmla="*/ 75120 w 269875"/>
              <a:gd name="connsiteY4" fmla="*/ 256503 h 256502"/>
              <a:gd name="connsiteX5" fmla="*/ 189 w 269875"/>
              <a:gd name="connsiteY5" fmla="*/ 214510 h 256502"/>
              <a:gd name="connsiteX6" fmla="*/ 0 w 269875"/>
              <a:gd name="connsiteY6" fmla="*/ 212527 h 256502"/>
              <a:gd name="connsiteX7" fmla="*/ 0 w 269875"/>
              <a:gd name="connsiteY7" fmla="*/ 192286 h 256502"/>
              <a:gd name="connsiteX8" fmla="*/ 30361 w 269875"/>
              <a:gd name="connsiteY8" fmla="*/ 161925 h 256502"/>
              <a:gd name="connsiteX9" fmla="*/ 118070 w 269875"/>
              <a:gd name="connsiteY9" fmla="*/ 161925 h 256502"/>
              <a:gd name="connsiteX10" fmla="*/ 118070 w 269875"/>
              <a:gd name="connsiteY10" fmla="*/ 182166 h 256502"/>
              <a:gd name="connsiteX11" fmla="*/ 30361 w 269875"/>
              <a:gd name="connsiteY11" fmla="*/ 182166 h 256502"/>
              <a:gd name="connsiteX12" fmla="*/ 20241 w 269875"/>
              <a:gd name="connsiteY12" fmla="*/ 192286 h 256502"/>
              <a:gd name="connsiteX13" fmla="*/ 20241 w 269875"/>
              <a:gd name="connsiteY13" fmla="*/ 211447 h 256502"/>
              <a:gd name="connsiteX14" fmla="*/ 75120 w 269875"/>
              <a:gd name="connsiteY14" fmla="*/ 236262 h 256502"/>
              <a:gd name="connsiteX15" fmla="*/ 128191 w 269875"/>
              <a:gd name="connsiteY15" fmla="*/ 211757 h 256502"/>
              <a:gd name="connsiteX16" fmla="*/ 128191 w 269875"/>
              <a:gd name="connsiteY16" fmla="*/ 192286 h 256502"/>
              <a:gd name="connsiteX17" fmla="*/ 118070 w 269875"/>
              <a:gd name="connsiteY17" fmla="*/ 182166 h 256502"/>
              <a:gd name="connsiteX18" fmla="*/ 74216 w 269875"/>
              <a:gd name="connsiteY18" fmla="*/ 53975 h 256502"/>
              <a:gd name="connsiteX19" fmla="*/ 121444 w 269875"/>
              <a:gd name="connsiteY19" fmla="*/ 101203 h 256502"/>
              <a:gd name="connsiteX20" fmla="*/ 74216 w 269875"/>
              <a:gd name="connsiteY20" fmla="*/ 148431 h 256502"/>
              <a:gd name="connsiteX21" fmla="*/ 26988 w 269875"/>
              <a:gd name="connsiteY21" fmla="*/ 101203 h 256502"/>
              <a:gd name="connsiteX22" fmla="*/ 74216 w 269875"/>
              <a:gd name="connsiteY22" fmla="*/ 53975 h 256502"/>
              <a:gd name="connsiteX23" fmla="*/ 239514 w 269875"/>
              <a:gd name="connsiteY23" fmla="*/ 0 h 256502"/>
              <a:gd name="connsiteX24" fmla="*/ 269875 w 269875"/>
              <a:gd name="connsiteY24" fmla="*/ 30361 h 256502"/>
              <a:gd name="connsiteX25" fmla="*/ 269875 w 269875"/>
              <a:gd name="connsiteY25" fmla="*/ 77589 h 256502"/>
              <a:gd name="connsiteX26" fmla="*/ 239514 w 269875"/>
              <a:gd name="connsiteY26" fmla="*/ 107950 h 256502"/>
              <a:gd name="connsiteX27" fmla="*/ 219881 w 269875"/>
              <a:gd name="connsiteY27" fmla="*/ 107950 h 256502"/>
              <a:gd name="connsiteX28" fmla="*/ 190653 w 269875"/>
              <a:gd name="connsiteY28" fmla="*/ 136840 h 256502"/>
              <a:gd name="connsiteX29" fmla="*/ 166800 w 269875"/>
              <a:gd name="connsiteY29" fmla="*/ 136709 h 256502"/>
              <a:gd name="connsiteX30" fmla="*/ 161925 w 269875"/>
              <a:gd name="connsiteY30" fmla="*/ 124858 h 256502"/>
              <a:gd name="connsiteX31" fmla="*/ 161925 w 269875"/>
              <a:gd name="connsiteY31" fmla="*/ 107761 h 256502"/>
              <a:gd name="connsiteX32" fmla="*/ 134938 w 269875"/>
              <a:gd name="connsiteY32" fmla="*/ 77589 h 256502"/>
              <a:gd name="connsiteX33" fmla="*/ 134938 w 269875"/>
              <a:gd name="connsiteY33" fmla="*/ 30361 h 256502"/>
              <a:gd name="connsiteX34" fmla="*/ 165298 w 269875"/>
              <a:gd name="connsiteY34" fmla="*/ 0 h 256502"/>
              <a:gd name="connsiteX35" fmla="*/ 239514 w 269875"/>
              <a:gd name="connsiteY35" fmla="*/ 0 h 256502"/>
              <a:gd name="connsiteX36" fmla="*/ 74216 w 269875"/>
              <a:gd name="connsiteY36" fmla="*/ 74216 h 256502"/>
              <a:gd name="connsiteX37" fmla="*/ 47228 w 269875"/>
              <a:gd name="connsiteY37" fmla="*/ 101203 h 256502"/>
              <a:gd name="connsiteX38" fmla="*/ 74216 w 269875"/>
              <a:gd name="connsiteY38" fmla="*/ 128191 h 256502"/>
              <a:gd name="connsiteX39" fmla="*/ 101203 w 269875"/>
              <a:gd name="connsiteY39" fmla="*/ 101203 h 256502"/>
              <a:gd name="connsiteX40" fmla="*/ 74216 w 269875"/>
              <a:gd name="connsiteY40" fmla="*/ 74216 h 256502"/>
              <a:gd name="connsiteX41" fmla="*/ 239514 w 269875"/>
              <a:gd name="connsiteY41" fmla="*/ 20241 h 256502"/>
              <a:gd name="connsiteX42" fmla="*/ 165298 w 269875"/>
              <a:gd name="connsiteY42" fmla="*/ 20241 h 256502"/>
              <a:gd name="connsiteX43" fmla="*/ 155178 w 269875"/>
              <a:gd name="connsiteY43" fmla="*/ 30361 h 256502"/>
              <a:gd name="connsiteX44" fmla="*/ 155178 w 269875"/>
              <a:gd name="connsiteY44" fmla="*/ 77589 h 256502"/>
              <a:gd name="connsiteX45" fmla="*/ 165298 w 269875"/>
              <a:gd name="connsiteY45" fmla="*/ 87709 h 256502"/>
              <a:gd name="connsiteX46" fmla="*/ 182152 w 269875"/>
              <a:gd name="connsiteY46" fmla="*/ 87709 h 256502"/>
              <a:gd name="connsiteX47" fmla="*/ 182152 w 269875"/>
              <a:gd name="connsiteY47" fmla="*/ 116775 h 256502"/>
              <a:gd name="connsiteX48" fmla="*/ 211582 w 269875"/>
              <a:gd name="connsiteY48" fmla="*/ 87709 h 256502"/>
              <a:gd name="connsiteX49" fmla="*/ 239528 w 269875"/>
              <a:gd name="connsiteY49" fmla="*/ 87709 h 256502"/>
              <a:gd name="connsiteX50" fmla="*/ 249648 w 269875"/>
              <a:gd name="connsiteY50" fmla="*/ 77589 h 256502"/>
              <a:gd name="connsiteX51" fmla="*/ 249648 w 269875"/>
              <a:gd name="connsiteY51" fmla="*/ 30361 h 256502"/>
              <a:gd name="connsiteX52" fmla="*/ 239528 w 269875"/>
              <a:gd name="connsiteY52" fmla="*/ 20241 h 25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69875" h="256502">
                <a:moveTo>
                  <a:pt x="118070" y="161925"/>
                </a:moveTo>
                <a:cubicBezTo>
                  <a:pt x="134838" y="161925"/>
                  <a:pt x="148431" y="175519"/>
                  <a:pt x="148431" y="192286"/>
                </a:cubicBezTo>
                <a:lnTo>
                  <a:pt x="148431" y="212554"/>
                </a:lnTo>
                <a:lnTo>
                  <a:pt x="148323" y="214011"/>
                </a:lnTo>
                <a:cubicBezTo>
                  <a:pt x="144140" y="242712"/>
                  <a:pt x="118367" y="256503"/>
                  <a:pt x="75120" y="256503"/>
                </a:cubicBezTo>
                <a:cubicBezTo>
                  <a:pt x="32034" y="256503"/>
                  <a:pt x="5843" y="242874"/>
                  <a:pt x="189" y="214510"/>
                </a:cubicBezTo>
                <a:lnTo>
                  <a:pt x="0" y="212527"/>
                </a:lnTo>
                <a:lnTo>
                  <a:pt x="0" y="192286"/>
                </a:lnTo>
                <a:cubicBezTo>
                  <a:pt x="0" y="175519"/>
                  <a:pt x="13593" y="161925"/>
                  <a:pt x="30361" y="161925"/>
                </a:cubicBezTo>
                <a:lnTo>
                  <a:pt x="118070" y="161925"/>
                </a:lnTo>
                <a:close/>
                <a:moveTo>
                  <a:pt x="118070" y="182166"/>
                </a:moveTo>
                <a:lnTo>
                  <a:pt x="30361" y="182166"/>
                </a:lnTo>
                <a:cubicBezTo>
                  <a:pt x="24772" y="182166"/>
                  <a:pt x="20241" y="186697"/>
                  <a:pt x="20241" y="192286"/>
                </a:cubicBezTo>
                <a:lnTo>
                  <a:pt x="20241" y="211447"/>
                </a:lnTo>
                <a:cubicBezTo>
                  <a:pt x="24019" y="227640"/>
                  <a:pt x="41156" y="236262"/>
                  <a:pt x="75120" y="236262"/>
                </a:cubicBezTo>
                <a:cubicBezTo>
                  <a:pt x="109070" y="236262"/>
                  <a:pt x="125451" y="227748"/>
                  <a:pt x="128191" y="211757"/>
                </a:cubicBezTo>
                <a:lnTo>
                  <a:pt x="128191" y="192286"/>
                </a:lnTo>
                <a:cubicBezTo>
                  <a:pt x="128191" y="186697"/>
                  <a:pt x="123659" y="182166"/>
                  <a:pt x="118070" y="182166"/>
                </a:cubicBezTo>
                <a:close/>
                <a:moveTo>
                  <a:pt x="74216" y="53975"/>
                </a:moveTo>
                <a:cubicBezTo>
                  <a:pt x="100299" y="53975"/>
                  <a:pt x="121444" y="75120"/>
                  <a:pt x="121444" y="101203"/>
                </a:cubicBezTo>
                <a:cubicBezTo>
                  <a:pt x="121444" y="127287"/>
                  <a:pt x="100299" y="148431"/>
                  <a:pt x="74216" y="148431"/>
                </a:cubicBezTo>
                <a:cubicBezTo>
                  <a:pt x="48132" y="148431"/>
                  <a:pt x="26988" y="127287"/>
                  <a:pt x="26988" y="101203"/>
                </a:cubicBezTo>
                <a:cubicBezTo>
                  <a:pt x="26988" y="75120"/>
                  <a:pt x="48132" y="53975"/>
                  <a:pt x="74216" y="53975"/>
                </a:cubicBezTo>
                <a:close/>
                <a:moveTo>
                  <a:pt x="239514" y="0"/>
                </a:moveTo>
                <a:cubicBezTo>
                  <a:pt x="256281" y="0"/>
                  <a:pt x="269875" y="13593"/>
                  <a:pt x="269875" y="30361"/>
                </a:cubicBezTo>
                <a:lnTo>
                  <a:pt x="269875" y="77589"/>
                </a:lnTo>
                <a:cubicBezTo>
                  <a:pt x="269875" y="94357"/>
                  <a:pt x="256281" y="107950"/>
                  <a:pt x="239514" y="107950"/>
                </a:cubicBezTo>
                <a:lnTo>
                  <a:pt x="219881" y="107950"/>
                </a:lnTo>
                <a:lnTo>
                  <a:pt x="190653" y="136840"/>
                </a:lnTo>
                <a:cubicBezTo>
                  <a:pt x="184030" y="143391"/>
                  <a:pt x="173350" y="143332"/>
                  <a:pt x="166800" y="136709"/>
                </a:cubicBezTo>
                <a:cubicBezTo>
                  <a:pt x="163679" y="133553"/>
                  <a:pt x="161928" y="129296"/>
                  <a:pt x="161925" y="124858"/>
                </a:cubicBezTo>
                <a:lnTo>
                  <a:pt x="161925" y="107761"/>
                </a:lnTo>
                <a:cubicBezTo>
                  <a:pt x="146558" y="106043"/>
                  <a:pt x="134938" y="93051"/>
                  <a:pt x="134938" y="77589"/>
                </a:cubicBezTo>
                <a:lnTo>
                  <a:pt x="134938" y="30361"/>
                </a:lnTo>
                <a:cubicBezTo>
                  <a:pt x="134938" y="13593"/>
                  <a:pt x="148531" y="0"/>
                  <a:pt x="165298" y="0"/>
                </a:cubicBezTo>
                <a:lnTo>
                  <a:pt x="239514" y="0"/>
                </a:lnTo>
                <a:close/>
                <a:moveTo>
                  <a:pt x="74216" y="74216"/>
                </a:moveTo>
                <a:cubicBezTo>
                  <a:pt x="59311" y="74216"/>
                  <a:pt x="47228" y="86298"/>
                  <a:pt x="47228" y="101203"/>
                </a:cubicBezTo>
                <a:cubicBezTo>
                  <a:pt x="47228" y="116108"/>
                  <a:pt x="59311" y="128191"/>
                  <a:pt x="74216" y="128191"/>
                </a:cubicBezTo>
                <a:cubicBezTo>
                  <a:pt x="89120" y="128191"/>
                  <a:pt x="101203" y="116108"/>
                  <a:pt x="101203" y="101203"/>
                </a:cubicBezTo>
                <a:cubicBezTo>
                  <a:pt x="101203" y="86298"/>
                  <a:pt x="89120" y="74216"/>
                  <a:pt x="74216" y="74216"/>
                </a:cubicBezTo>
                <a:close/>
                <a:moveTo>
                  <a:pt x="239514" y="20241"/>
                </a:moveTo>
                <a:lnTo>
                  <a:pt x="165298" y="20241"/>
                </a:lnTo>
                <a:cubicBezTo>
                  <a:pt x="159709" y="20241"/>
                  <a:pt x="155178" y="24772"/>
                  <a:pt x="155178" y="30361"/>
                </a:cubicBezTo>
                <a:lnTo>
                  <a:pt x="155178" y="77589"/>
                </a:lnTo>
                <a:cubicBezTo>
                  <a:pt x="155178" y="83175"/>
                  <a:pt x="159712" y="87709"/>
                  <a:pt x="165298" y="87709"/>
                </a:cubicBezTo>
                <a:lnTo>
                  <a:pt x="182152" y="87709"/>
                </a:lnTo>
                <a:lnTo>
                  <a:pt x="182152" y="116775"/>
                </a:lnTo>
                <a:lnTo>
                  <a:pt x="211582" y="87709"/>
                </a:lnTo>
                <a:lnTo>
                  <a:pt x="239528" y="87709"/>
                </a:lnTo>
                <a:cubicBezTo>
                  <a:pt x="245117" y="87709"/>
                  <a:pt x="249648" y="83178"/>
                  <a:pt x="249648" y="77589"/>
                </a:cubicBezTo>
                <a:lnTo>
                  <a:pt x="249648" y="30361"/>
                </a:lnTo>
                <a:cubicBezTo>
                  <a:pt x="249648" y="24772"/>
                  <a:pt x="245117" y="20241"/>
                  <a:pt x="239528" y="20241"/>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600" b="1" noProof="0" dirty="0">
              <a:ln w="3175">
                <a:noFill/>
              </a:ln>
              <a:gradFill>
                <a:gsLst>
                  <a:gs pos="76437">
                    <a:srgbClr val="FFFFFF"/>
                  </a:gs>
                  <a:gs pos="55747">
                    <a:srgbClr val="FFFFFF"/>
                  </a:gs>
                </a:gsLst>
                <a:path path="circle">
                  <a:fillToRect l="100000" b="100000"/>
                </a:path>
              </a:gradFill>
              <a:latin typeface="Segoe UI Semibold"/>
              <a:cs typeface="Segoe UI" pitchFamily="34" charset="0"/>
            </a:endParaRPr>
          </a:p>
        </p:txBody>
      </p:sp>
      <p:sp>
        <p:nvSpPr>
          <p:cNvPr id="27" name="Freeform: Shape 26" descr="Icon of a person on the screen with a star">
            <a:extLst>
              <a:ext uri="{FF2B5EF4-FFF2-40B4-BE49-F238E27FC236}">
                <a16:creationId xmlns:a16="http://schemas.microsoft.com/office/drawing/2014/main" id="{2B58769E-8A27-0020-8799-1E8C9202A49B}"/>
              </a:ext>
            </a:extLst>
          </p:cNvPr>
          <p:cNvSpPr/>
          <p:nvPr/>
        </p:nvSpPr>
        <p:spPr>
          <a:xfrm>
            <a:off x="3716426" y="4606846"/>
            <a:ext cx="195254" cy="176658"/>
          </a:xfrm>
          <a:custGeom>
            <a:avLst/>
            <a:gdLst>
              <a:gd name="connsiteX0" fmla="*/ 200413 w 274320"/>
              <a:gd name="connsiteY0" fmla="*/ 130926 h 248194"/>
              <a:gd name="connsiteX1" fmla="*/ 195225 w 274320"/>
              <a:gd name="connsiteY1" fmla="*/ 136116 h 248194"/>
              <a:gd name="connsiteX2" fmla="*/ 187949 w 274320"/>
              <a:gd name="connsiteY2" fmla="*/ 159471 h 248194"/>
              <a:gd name="connsiteX3" fmla="*/ 164396 w 274320"/>
              <a:gd name="connsiteY3" fmla="*/ 159471 h 248194"/>
              <a:gd name="connsiteX4" fmla="*/ 159916 w 274320"/>
              <a:gd name="connsiteY4" fmla="*/ 173841 h 248194"/>
              <a:gd name="connsiteX5" fmla="*/ 178962 w 274320"/>
              <a:gd name="connsiteY5" fmla="*/ 188275 h 248194"/>
              <a:gd name="connsiteX6" fmla="*/ 171685 w 274320"/>
              <a:gd name="connsiteY6" fmla="*/ 211618 h 248194"/>
              <a:gd name="connsiteX7" fmla="*/ 183429 w 274320"/>
              <a:gd name="connsiteY7" fmla="*/ 220515 h 248194"/>
              <a:gd name="connsiteX8" fmla="*/ 202475 w 274320"/>
              <a:gd name="connsiteY8" fmla="*/ 206093 h 248194"/>
              <a:gd name="connsiteX9" fmla="*/ 221520 w 274320"/>
              <a:gd name="connsiteY9" fmla="*/ 220515 h 248194"/>
              <a:gd name="connsiteX10" fmla="*/ 233264 w 274320"/>
              <a:gd name="connsiteY10" fmla="*/ 211632 h 248194"/>
              <a:gd name="connsiteX11" fmla="*/ 225987 w 274320"/>
              <a:gd name="connsiteY11" fmla="*/ 188275 h 248194"/>
              <a:gd name="connsiteX12" fmla="*/ 245033 w 274320"/>
              <a:gd name="connsiteY12" fmla="*/ 173853 h 248194"/>
              <a:gd name="connsiteX13" fmla="*/ 240553 w 274320"/>
              <a:gd name="connsiteY13" fmla="*/ 159471 h 248194"/>
              <a:gd name="connsiteX14" fmla="*/ 217000 w 274320"/>
              <a:gd name="connsiteY14" fmla="*/ 159471 h 248194"/>
              <a:gd name="connsiteX15" fmla="*/ 209725 w 274320"/>
              <a:gd name="connsiteY15" fmla="*/ 136128 h 248194"/>
              <a:gd name="connsiteX16" fmla="*/ 209725 w 274320"/>
              <a:gd name="connsiteY16" fmla="*/ 136116 h 248194"/>
              <a:gd name="connsiteX17" fmla="*/ 200413 w 274320"/>
              <a:gd name="connsiteY17" fmla="*/ 130926 h 248194"/>
              <a:gd name="connsiteX18" fmla="*/ 202475 w 274320"/>
              <a:gd name="connsiteY18" fmla="*/ 104503 h 248194"/>
              <a:gd name="connsiteX19" fmla="*/ 274320 w 274320"/>
              <a:gd name="connsiteY19" fmla="*/ 176349 h 248194"/>
              <a:gd name="connsiteX20" fmla="*/ 202475 w 274320"/>
              <a:gd name="connsiteY20" fmla="*/ 248194 h 248194"/>
              <a:gd name="connsiteX21" fmla="*/ 130629 w 274320"/>
              <a:gd name="connsiteY21" fmla="*/ 176349 h 248194"/>
              <a:gd name="connsiteX22" fmla="*/ 202475 w 274320"/>
              <a:gd name="connsiteY22" fmla="*/ 104503 h 248194"/>
              <a:gd name="connsiteX23" fmla="*/ 130629 w 274320"/>
              <a:gd name="connsiteY23" fmla="*/ 58784 h 248194"/>
              <a:gd name="connsiteX24" fmla="*/ 111035 w 274320"/>
              <a:gd name="connsiteY24" fmla="*/ 78378 h 248194"/>
              <a:gd name="connsiteX25" fmla="*/ 130629 w 274320"/>
              <a:gd name="connsiteY25" fmla="*/ 97973 h 248194"/>
              <a:gd name="connsiteX26" fmla="*/ 150224 w 274320"/>
              <a:gd name="connsiteY26" fmla="*/ 78378 h 248194"/>
              <a:gd name="connsiteX27" fmla="*/ 130629 w 274320"/>
              <a:gd name="connsiteY27" fmla="*/ 58784 h 248194"/>
              <a:gd name="connsiteX28" fmla="*/ 130629 w 274320"/>
              <a:gd name="connsiteY28" fmla="*/ 39189 h 248194"/>
              <a:gd name="connsiteX29" fmla="*/ 169817 w 274320"/>
              <a:gd name="connsiteY29" fmla="*/ 78378 h 248194"/>
              <a:gd name="connsiteX30" fmla="*/ 130629 w 274320"/>
              <a:gd name="connsiteY30" fmla="*/ 117566 h 248194"/>
              <a:gd name="connsiteX31" fmla="*/ 91440 w 274320"/>
              <a:gd name="connsiteY31" fmla="*/ 78378 h 248194"/>
              <a:gd name="connsiteX32" fmla="*/ 130629 w 274320"/>
              <a:gd name="connsiteY32" fmla="*/ 39189 h 248194"/>
              <a:gd name="connsiteX33" fmla="*/ 29391 w 274320"/>
              <a:gd name="connsiteY33" fmla="*/ 0 h 248194"/>
              <a:gd name="connsiteX34" fmla="*/ 231800 w 274320"/>
              <a:gd name="connsiteY34" fmla="*/ 0 h 248194"/>
              <a:gd name="connsiteX35" fmla="*/ 261191 w 274320"/>
              <a:gd name="connsiteY35" fmla="*/ 29391 h 248194"/>
              <a:gd name="connsiteX36" fmla="*/ 261191 w 274320"/>
              <a:gd name="connsiteY36" fmla="*/ 115019 h 248194"/>
              <a:gd name="connsiteX37" fmla="*/ 241597 w 274320"/>
              <a:gd name="connsiteY37" fmla="*/ 100976 h 248194"/>
              <a:gd name="connsiteX38" fmla="*/ 241597 w 274320"/>
              <a:gd name="connsiteY38" fmla="*/ 29391 h 248194"/>
              <a:gd name="connsiteX39" fmla="*/ 231800 w 274320"/>
              <a:gd name="connsiteY39" fmla="*/ 19595 h 248194"/>
              <a:gd name="connsiteX40" fmla="*/ 29391 w 274320"/>
              <a:gd name="connsiteY40" fmla="*/ 19595 h 248194"/>
              <a:gd name="connsiteX41" fmla="*/ 19595 w 274320"/>
              <a:gd name="connsiteY41" fmla="*/ 29391 h 248194"/>
              <a:gd name="connsiteX42" fmla="*/ 19595 w 274320"/>
              <a:gd name="connsiteY42" fmla="*/ 179679 h 248194"/>
              <a:gd name="connsiteX43" fmla="*/ 29391 w 274320"/>
              <a:gd name="connsiteY43" fmla="*/ 189477 h 248194"/>
              <a:gd name="connsiteX44" fmla="*/ 65301 w 274320"/>
              <a:gd name="connsiteY44" fmla="*/ 189465 h 248194"/>
              <a:gd name="connsiteX45" fmla="*/ 65314 w 274320"/>
              <a:gd name="connsiteY45" fmla="*/ 153489 h 248194"/>
              <a:gd name="connsiteX46" fmla="*/ 86293 w 274320"/>
              <a:gd name="connsiteY46" fmla="*/ 130707 h 248194"/>
              <a:gd name="connsiteX47" fmla="*/ 88175 w 274320"/>
              <a:gd name="connsiteY47" fmla="*/ 130629 h 248194"/>
              <a:gd name="connsiteX48" fmla="*/ 130916 w 274320"/>
              <a:gd name="connsiteY48" fmla="*/ 130629 h 248194"/>
              <a:gd name="connsiteX49" fmla="*/ 121654 w 274320"/>
              <a:gd name="connsiteY49" fmla="*/ 150224 h 248194"/>
              <a:gd name="connsiteX50" fmla="*/ 88175 w 274320"/>
              <a:gd name="connsiteY50" fmla="*/ 150224 h 248194"/>
              <a:gd name="connsiteX51" fmla="*/ 85000 w 274320"/>
              <a:gd name="connsiteY51" fmla="*/ 152745 h 248194"/>
              <a:gd name="connsiteX52" fmla="*/ 84909 w 274320"/>
              <a:gd name="connsiteY52" fmla="*/ 153489 h 248194"/>
              <a:gd name="connsiteX53" fmla="*/ 84896 w 274320"/>
              <a:gd name="connsiteY53" fmla="*/ 189465 h 248194"/>
              <a:gd name="connsiteX54" fmla="*/ 118571 w 274320"/>
              <a:gd name="connsiteY54" fmla="*/ 189465 h 248194"/>
              <a:gd name="connsiteX55" fmla="*/ 124098 w 274320"/>
              <a:gd name="connsiteY55" fmla="*/ 209058 h 248194"/>
              <a:gd name="connsiteX56" fmla="*/ 29391 w 274320"/>
              <a:gd name="connsiteY56" fmla="*/ 209058 h 248194"/>
              <a:gd name="connsiteX57" fmla="*/ 0 w 274320"/>
              <a:gd name="connsiteY57" fmla="*/ 179679 h 248194"/>
              <a:gd name="connsiteX58" fmla="*/ 0 w 274320"/>
              <a:gd name="connsiteY58" fmla="*/ 29391 h 248194"/>
              <a:gd name="connsiteX59" fmla="*/ 29391 w 274320"/>
              <a:gd name="connsiteY59" fmla="*/ 0 h 248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74320" h="248194">
                <a:moveTo>
                  <a:pt x="200413" y="130926"/>
                </a:moveTo>
                <a:cubicBezTo>
                  <a:pt x="197902" y="131641"/>
                  <a:pt x="195939" y="133604"/>
                  <a:pt x="195225" y="136116"/>
                </a:cubicBezTo>
                <a:lnTo>
                  <a:pt x="187949" y="159471"/>
                </a:lnTo>
                <a:lnTo>
                  <a:pt x="164396" y="159471"/>
                </a:lnTo>
                <a:cubicBezTo>
                  <a:pt x="157003" y="159471"/>
                  <a:pt x="153946" y="169321"/>
                  <a:pt x="159916" y="173841"/>
                </a:cubicBezTo>
                <a:lnTo>
                  <a:pt x="178962" y="188275"/>
                </a:lnTo>
                <a:lnTo>
                  <a:pt x="171685" y="211618"/>
                </a:lnTo>
                <a:cubicBezTo>
                  <a:pt x="169399" y="218947"/>
                  <a:pt x="177447" y="225047"/>
                  <a:pt x="183429" y="220515"/>
                </a:cubicBezTo>
                <a:lnTo>
                  <a:pt x="202475" y="206093"/>
                </a:lnTo>
                <a:lnTo>
                  <a:pt x="221520" y="220515"/>
                </a:lnTo>
                <a:cubicBezTo>
                  <a:pt x="227502" y="225047"/>
                  <a:pt x="235550" y="218947"/>
                  <a:pt x="233264" y="211632"/>
                </a:cubicBezTo>
                <a:lnTo>
                  <a:pt x="225987" y="188275"/>
                </a:lnTo>
                <a:lnTo>
                  <a:pt x="245033" y="173853"/>
                </a:lnTo>
                <a:cubicBezTo>
                  <a:pt x="251015" y="169321"/>
                  <a:pt x="247946" y="159471"/>
                  <a:pt x="240553" y="159471"/>
                </a:cubicBezTo>
                <a:lnTo>
                  <a:pt x="217000" y="159471"/>
                </a:lnTo>
                <a:lnTo>
                  <a:pt x="209725" y="136128"/>
                </a:lnTo>
                <a:lnTo>
                  <a:pt x="209725" y="136116"/>
                </a:lnTo>
                <a:cubicBezTo>
                  <a:pt x="208585" y="132111"/>
                  <a:pt x="204417" y="129790"/>
                  <a:pt x="200413" y="130926"/>
                </a:cubicBezTo>
                <a:close/>
                <a:moveTo>
                  <a:pt x="202475" y="104503"/>
                </a:moveTo>
                <a:cubicBezTo>
                  <a:pt x="242155" y="104503"/>
                  <a:pt x="274320" y="136669"/>
                  <a:pt x="274320" y="176349"/>
                </a:cubicBezTo>
                <a:cubicBezTo>
                  <a:pt x="274320" y="216029"/>
                  <a:pt x="242155" y="248194"/>
                  <a:pt x="202475" y="248194"/>
                </a:cubicBezTo>
                <a:cubicBezTo>
                  <a:pt x="162794" y="248194"/>
                  <a:pt x="130629" y="216029"/>
                  <a:pt x="130629" y="176349"/>
                </a:cubicBezTo>
                <a:cubicBezTo>
                  <a:pt x="130629" y="136669"/>
                  <a:pt x="162794" y="104503"/>
                  <a:pt x="202475" y="104503"/>
                </a:cubicBezTo>
                <a:close/>
                <a:moveTo>
                  <a:pt x="130629" y="58784"/>
                </a:moveTo>
                <a:cubicBezTo>
                  <a:pt x="119807" y="58784"/>
                  <a:pt x="111035" y="67556"/>
                  <a:pt x="111035" y="78378"/>
                </a:cubicBezTo>
                <a:cubicBezTo>
                  <a:pt x="111035" y="89200"/>
                  <a:pt x="119807" y="97973"/>
                  <a:pt x="130629" y="97973"/>
                </a:cubicBezTo>
                <a:cubicBezTo>
                  <a:pt x="141450" y="97973"/>
                  <a:pt x="150224" y="89200"/>
                  <a:pt x="150224" y="78378"/>
                </a:cubicBezTo>
                <a:cubicBezTo>
                  <a:pt x="150224" y="67556"/>
                  <a:pt x="141450" y="58784"/>
                  <a:pt x="130629" y="58784"/>
                </a:cubicBezTo>
                <a:close/>
                <a:moveTo>
                  <a:pt x="130629" y="39189"/>
                </a:moveTo>
                <a:cubicBezTo>
                  <a:pt x="152272" y="39189"/>
                  <a:pt x="169817" y="56735"/>
                  <a:pt x="169817" y="78378"/>
                </a:cubicBezTo>
                <a:cubicBezTo>
                  <a:pt x="169817" y="100022"/>
                  <a:pt x="152272" y="117566"/>
                  <a:pt x="130629" y="117566"/>
                </a:cubicBezTo>
                <a:cubicBezTo>
                  <a:pt x="108985" y="117566"/>
                  <a:pt x="91440" y="100022"/>
                  <a:pt x="91440" y="78378"/>
                </a:cubicBezTo>
                <a:cubicBezTo>
                  <a:pt x="91440" y="56735"/>
                  <a:pt x="108985" y="39189"/>
                  <a:pt x="130629" y="39189"/>
                </a:cubicBezTo>
                <a:close/>
                <a:moveTo>
                  <a:pt x="29391" y="0"/>
                </a:moveTo>
                <a:lnTo>
                  <a:pt x="231800" y="0"/>
                </a:lnTo>
                <a:cubicBezTo>
                  <a:pt x="248032" y="0"/>
                  <a:pt x="261191" y="13159"/>
                  <a:pt x="261191" y="29391"/>
                </a:cubicBezTo>
                <a:lnTo>
                  <a:pt x="261191" y="115019"/>
                </a:lnTo>
                <a:cubicBezTo>
                  <a:pt x="255358" y="109433"/>
                  <a:pt x="248760" y="104705"/>
                  <a:pt x="241597" y="100976"/>
                </a:cubicBezTo>
                <a:lnTo>
                  <a:pt x="241597" y="29391"/>
                </a:lnTo>
                <a:cubicBezTo>
                  <a:pt x="241597" y="23981"/>
                  <a:pt x="237210" y="19595"/>
                  <a:pt x="231800" y="19595"/>
                </a:cubicBezTo>
                <a:lnTo>
                  <a:pt x="29391" y="19595"/>
                </a:lnTo>
                <a:cubicBezTo>
                  <a:pt x="23981" y="19595"/>
                  <a:pt x="19595" y="23981"/>
                  <a:pt x="19595" y="29391"/>
                </a:cubicBezTo>
                <a:lnTo>
                  <a:pt x="19595" y="179679"/>
                </a:lnTo>
                <a:cubicBezTo>
                  <a:pt x="19595" y="185088"/>
                  <a:pt x="23984" y="189477"/>
                  <a:pt x="29391" y="189477"/>
                </a:cubicBezTo>
                <a:lnTo>
                  <a:pt x="65301" y="189465"/>
                </a:lnTo>
                <a:lnTo>
                  <a:pt x="65314" y="153489"/>
                </a:lnTo>
                <a:cubicBezTo>
                  <a:pt x="65314" y="141594"/>
                  <a:pt x="74438" y="131686"/>
                  <a:pt x="86293" y="130707"/>
                </a:cubicBezTo>
                <a:lnTo>
                  <a:pt x="88175" y="130629"/>
                </a:lnTo>
                <a:lnTo>
                  <a:pt x="130916" y="130629"/>
                </a:lnTo>
                <a:cubicBezTo>
                  <a:pt x="127001" y="136736"/>
                  <a:pt x="123888" y="143320"/>
                  <a:pt x="121654" y="150224"/>
                </a:cubicBezTo>
                <a:lnTo>
                  <a:pt x="88175" y="150224"/>
                </a:lnTo>
                <a:cubicBezTo>
                  <a:pt x="86659" y="150225"/>
                  <a:pt x="85345" y="151269"/>
                  <a:pt x="85000" y="152745"/>
                </a:cubicBezTo>
                <a:lnTo>
                  <a:pt x="84909" y="153489"/>
                </a:lnTo>
                <a:lnTo>
                  <a:pt x="84896" y="189465"/>
                </a:lnTo>
                <a:lnTo>
                  <a:pt x="118571" y="189465"/>
                </a:lnTo>
                <a:cubicBezTo>
                  <a:pt x="119615" y="196196"/>
                  <a:pt x="121470" y="202774"/>
                  <a:pt x="124098" y="209058"/>
                </a:cubicBezTo>
                <a:lnTo>
                  <a:pt x="29391" y="209058"/>
                </a:lnTo>
                <a:cubicBezTo>
                  <a:pt x="13164" y="209058"/>
                  <a:pt x="7" y="195906"/>
                  <a:pt x="0" y="179679"/>
                </a:cubicBezTo>
                <a:lnTo>
                  <a:pt x="0" y="29391"/>
                </a:lnTo>
                <a:cubicBezTo>
                  <a:pt x="0" y="13159"/>
                  <a:pt x="13159" y="0"/>
                  <a:pt x="29391" y="0"/>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600" b="1" noProof="0" dirty="0">
              <a:ln w="3175">
                <a:noFill/>
              </a:ln>
              <a:gradFill>
                <a:gsLst>
                  <a:gs pos="76437">
                    <a:srgbClr val="FFFFFF"/>
                  </a:gs>
                  <a:gs pos="55747">
                    <a:srgbClr val="FFFFFF"/>
                  </a:gs>
                </a:gsLst>
                <a:path path="circle">
                  <a:fillToRect l="100000" b="100000"/>
                </a:path>
              </a:gradFill>
              <a:latin typeface="Segoe UI Semibold"/>
              <a:cs typeface="Segoe UI" pitchFamily="34" charset="0"/>
            </a:endParaRPr>
          </a:p>
        </p:txBody>
      </p:sp>
    </p:spTree>
    <p:extLst>
      <p:ext uri="{BB962C8B-B14F-4D97-AF65-F5344CB8AC3E}">
        <p14:creationId xmlns:p14="http://schemas.microsoft.com/office/powerpoint/2010/main" val="136814127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BE4528-8CDF-2133-5F49-FF38CFFBD3B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F829B75-ABFF-5DA1-88E4-162ED814A5BA}"/>
              </a:ext>
            </a:extLst>
          </p:cNvPr>
          <p:cNvSpPr>
            <a:spLocks noGrp="1"/>
          </p:cNvSpPr>
          <p:nvPr>
            <p:ph type="title"/>
          </p:nvPr>
        </p:nvSpPr>
        <p:spPr>
          <a:xfrm>
            <a:off x="588263" y="457200"/>
            <a:ext cx="11018520" cy="553998"/>
          </a:xfrm>
        </p:spPr>
        <p:txBody>
          <a:bodyPr/>
          <a:lstStyle/>
          <a:p>
            <a:r>
              <a:rPr lang="en-US" sz="3600" noProof="0" dirty="0">
                <a:latin typeface="Segoe UI Semibold" panose="020B0702040204020203" pitchFamily="34" charset="0"/>
                <a:cs typeface="Segoe UI Semibold" panose="020B0702040204020203" pitchFamily="34" charset="0"/>
              </a:rPr>
              <a:t>KPI – </a:t>
            </a:r>
            <a:r>
              <a:rPr lang="en-US" sz="3600" noProof="0" dirty="0">
                <a:gradFill>
                  <a:gsLst>
                    <a:gs pos="38000">
                      <a:srgbClr val="0078D4"/>
                    </a:gs>
                    <a:gs pos="0">
                      <a:srgbClr val="C03BC4"/>
                    </a:gs>
                  </a:gsLst>
                  <a:path path="circle">
                    <a:fillToRect l="100000" t="100000"/>
                  </a:path>
                </a:gradFill>
                <a:latin typeface="Segoe UI Semibold" panose="020B0702040204020203" pitchFamily="34" charset="0"/>
                <a:cs typeface="Segoe UI Semibold" panose="020B0702040204020203" pitchFamily="34" charset="0"/>
              </a:rPr>
              <a:t>Sales conversion rate</a:t>
            </a:r>
          </a:p>
        </p:txBody>
      </p:sp>
      <p:sp>
        <p:nvSpPr>
          <p:cNvPr id="7" name="Rectangle: Rounded Corners 81">
            <a:extLst>
              <a:ext uri="{FF2B5EF4-FFF2-40B4-BE49-F238E27FC236}">
                <a16:creationId xmlns:a16="http://schemas.microsoft.com/office/drawing/2014/main" id="{96A809BA-403B-DADE-1F82-FD5193D0F28B}"/>
              </a:ext>
              <a:ext uri="{C183D7F6-B498-43B3-948B-1728B52AA6E4}">
                <adec:decorative xmlns:adec="http://schemas.microsoft.com/office/drawing/2017/decorative" val="1"/>
              </a:ext>
            </a:extLst>
          </p:cNvPr>
          <p:cNvSpPr>
            <a:spLocks/>
          </p:cNvSpPr>
          <p:nvPr/>
        </p:nvSpPr>
        <p:spPr bwMode="auto">
          <a:xfrm>
            <a:off x="571500" y="1187448"/>
            <a:ext cx="11017250" cy="5161779"/>
          </a:xfrm>
          <a:prstGeom prst="roundRect">
            <a:avLst>
              <a:gd name="adj" fmla="val 3245"/>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8" name="Rounded Rectangle 53">
            <a:extLst>
              <a:ext uri="{FF2B5EF4-FFF2-40B4-BE49-F238E27FC236}">
                <a16:creationId xmlns:a16="http://schemas.microsoft.com/office/drawing/2014/main" id="{3649D52C-202E-15C9-00FD-3D937FD42CF7}"/>
              </a:ext>
            </a:extLst>
          </p:cNvPr>
          <p:cNvSpPr>
            <a:spLocks/>
          </p:cNvSpPr>
          <p:nvPr/>
        </p:nvSpPr>
        <p:spPr bwMode="auto">
          <a:xfrm>
            <a:off x="662940" y="4061815"/>
            <a:ext cx="5670614" cy="2195972"/>
          </a:xfrm>
          <a:prstGeom prst="roundRect">
            <a:avLst>
              <a:gd name="adj" fmla="val 4803"/>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w="3175">
                  <a:noFill/>
                </a:ln>
                <a:gradFill flip="none" rotWithShape="1">
                  <a:gsLst>
                    <a:gs pos="51000">
                      <a:srgbClr val="0078D4"/>
                    </a:gs>
                    <a:gs pos="0">
                      <a:srgbClr val="C03BC4"/>
                    </a:gs>
                  </a:gsLst>
                  <a:lin ang="13500000" scaled="1"/>
                  <a:tileRect/>
                </a:gradFill>
                <a:effectLst/>
                <a:uLnTx/>
                <a:uFillTx/>
                <a:latin typeface="Segoe UI Semibold"/>
                <a:ea typeface="+mn-ea"/>
                <a:cs typeface="Segoe UI" pitchFamily="34" charset="0"/>
              </a:rPr>
              <a:t>How AI can help increase conversion rates</a:t>
            </a:r>
          </a:p>
        </p:txBody>
      </p:sp>
      <p:sp>
        <p:nvSpPr>
          <p:cNvPr id="9" name="Rectangle: Rounded Corners 8">
            <a:extLst>
              <a:ext uri="{FF2B5EF4-FFF2-40B4-BE49-F238E27FC236}">
                <a16:creationId xmlns:a16="http://schemas.microsoft.com/office/drawing/2014/main" id="{36ED56F2-7D71-1E96-1DEC-34E556E3C599}"/>
              </a:ext>
            </a:extLst>
          </p:cNvPr>
          <p:cNvSpPr/>
          <p:nvPr/>
        </p:nvSpPr>
        <p:spPr bwMode="auto">
          <a:xfrm>
            <a:off x="763523" y="4526250"/>
            <a:ext cx="2603689" cy="337850"/>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6576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flip="none" rotWithShape="1">
                  <a:gsLst>
                    <a:gs pos="51000">
                      <a:srgbClr val="0078D4"/>
                    </a:gs>
                    <a:gs pos="0">
                      <a:srgbClr val="C03BC4"/>
                    </a:gs>
                  </a:gsLst>
                  <a:lin ang="13500000" scaled="1"/>
                  <a:tileRect/>
                </a:gradFill>
                <a:effectLst/>
                <a:uLnTx/>
                <a:uFillTx/>
                <a:latin typeface="Segoe UI Semibold"/>
                <a:ea typeface="+mn-ea"/>
                <a:cs typeface="Segoe UI Semilight"/>
              </a:rPr>
              <a:t>Improve pricing and promotions</a:t>
            </a:r>
          </a:p>
        </p:txBody>
      </p:sp>
      <p:sp>
        <p:nvSpPr>
          <p:cNvPr id="10" name="Rectangle: Rounded Corners 9">
            <a:extLst>
              <a:ext uri="{FF2B5EF4-FFF2-40B4-BE49-F238E27FC236}">
                <a16:creationId xmlns:a16="http://schemas.microsoft.com/office/drawing/2014/main" id="{D3BA59EC-0F02-2973-FA29-961E861BA6EB}"/>
              </a:ext>
            </a:extLst>
          </p:cNvPr>
          <p:cNvSpPr/>
          <p:nvPr/>
        </p:nvSpPr>
        <p:spPr bwMode="auto">
          <a:xfrm>
            <a:off x="3629283" y="4504737"/>
            <a:ext cx="2603689" cy="476726"/>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flip="none" rotWithShape="1">
                  <a:gsLst>
                    <a:gs pos="51000">
                      <a:srgbClr val="0078D4"/>
                    </a:gs>
                    <a:gs pos="0">
                      <a:srgbClr val="C03BC4"/>
                    </a:gs>
                  </a:gsLst>
                  <a:lin ang="13500000" scaled="1"/>
                  <a:tileRect/>
                </a:gradFill>
                <a:effectLst/>
                <a:uLnTx/>
                <a:uFillTx/>
                <a:latin typeface="Segoe UI Semibold"/>
                <a:ea typeface="+mn-ea"/>
                <a:cs typeface="Segoe UI Semilight"/>
              </a:rPr>
              <a:t>Improve quality of marketing materials</a:t>
            </a:r>
          </a:p>
        </p:txBody>
      </p:sp>
      <p:pic>
        <p:nvPicPr>
          <p:cNvPr id="12" name="Picture 11" descr="Photo of sales meeting">
            <a:extLst>
              <a:ext uri="{FF2B5EF4-FFF2-40B4-BE49-F238E27FC236}">
                <a16:creationId xmlns:a16="http://schemas.microsoft.com/office/drawing/2014/main" id="{CAE70D41-75E3-D6B9-38DE-02878C8A48A2}"/>
              </a:ext>
            </a:extLst>
          </p:cNvPr>
          <p:cNvPicPr>
            <a:picLocks/>
          </p:cNvPicPr>
          <p:nvPr/>
        </p:nvPicPr>
        <p:blipFill rotWithShape="1">
          <a:blip r:embed="rId2" cstate="screen">
            <a:extLst>
              <a:ext uri="{28A0092B-C50C-407E-A947-70E740481C1C}">
                <a14:useLocalDpi xmlns:a14="http://schemas.microsoft.com/office/drawing/2010/main"/>
              </a:ext>
            </a:extLst>
          </a:blip>
          <a:srcRect l="19173" r="10691"/>
          <a:stretch/>
        </p:blipFill>
        <p:spPr>
          <a:xfrm>
            <a:off x="662939" y="1278888"/>
            <a:ext cx="5670614" cy="1908701"/>
          </a:xfrm>
          <a:prstGeom prst="roundRect">
            <a:avLst>
              <a:gd name="adj" fmla="val 5305"/>
            </a:avLst>
          </a:prstGeom>
          <a:solidFill>
            <a:schemeClr val="bg1">
              <a:alpha val="70000"/>
            </a:schemeClr>
          </a:solidFill>
          <a:ln w="6350">
            <a:solidFill>
              <a:schemeClr val="bg1">
                <a:lumMod val="95000"/>
              </a:schemeClr>
            </a:solidFill>
          </a:ln>
          <a:effectLst/>
        </p:spPr>
      </p:pic>
      <p:sp>
        <p:nvSpPr>
          <p:cNvPr id="13" name="Text Placeholder 33">
            <a:extLst>
              <a:ext uri="{FF2B5EF4-FFF2-40B4-BE49-F238E27FC236}">
                <a16:creationId xmlns:a16="http://schemas.microsoft.com/office/drawing/2014/main" id="{020E7BF0-330C-7CD9-DA2C-3F3B74C70EF3}"/>
              </a:ext>
            </a:extLst>
          </p:cNvPr>
          <p:cNvSpPr txBox="1">
            <a:spLocks/>
          </p:cNvSpPr>
          <p:nvPr/>
        </p:nvSpPr>
        <p:spPr>
          <a:xfrm>
            <a:off x="662939" y="3274895"/>
            <a:ext cx="5670614" cy="553998"/>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The conversion rate helps retailers understand how effectively they are turning visitors into customers. A higher conversion rate indicates better performance in attracting and convincing customers to make purchases.</a:t>
            </a:r>
          </a:p>
        </p:txBody>
      </p:sp>
      <p:sp>
        <p:nvSpPr>
          <p:cNvPr id="14" name="TextBox 13">
            <a:extLst>
              <a:ext uri="{FF2B5EF4-FFF2-40B4-BE49-F238E27FC236}">
                <a16:creationId xmlns:a16="http://schemas.microsoft.com/office/drawing/2014/main" id="{B8FF22F3-FF66-1DDE-DBBC-427DB957B18B}"/>
              </a:ext>
            </a:extLst>
          </p:cNvPr>
          <p:cNvSpPr txBox="1"/>
          <p:nvPr/>
        </p:nvSpPr>
        <p:spPr>
          <a:xfrm>
            <a:off x="1112737" y="4916387"/>
            <a:ext cx="2106713" cy="923330"/>
          </a:xfrm>
          <a:prstGeom prst="rect">
            <a:avLst/>
          </a:prstGeom>
          <a:noFill/>
        </p:spPr>
        <p:txBody>
          <a:bodyPr wrap="square" lIns="0" tIns="0" rIns="0" bIns="0">
            <a:spAutoFit/>
          </a:bodyPr>
          <a:lstStyle>
            <a:defPPr>
              <a:defRPr lang="en-US"/>
            </a:defPPr>
            <a:lvl1pPr marL="171450" marR="0" lvl="0" indent="-171450" defTabSz="932597" fontAlgn="auto">
              <a:lnSpc>
                <a:spcPct val="100000"/>
              </a:lnSpc>
              <a:spcBef>
                <a:spcPts val="0"/>
              </a:spcBef>
              <a:spcAft>
                <a:spcPts val="600"/>
              </a:spcAft>
              <a:buClrTx/>
              <a:buSzTx/>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Segoe UI"/>
                <a:cs typeface="Segoe UI" panose="020B0502040204020203" pitchFamily="34" charset="0"/>
              </a:defRPr>
            </a:lvl1pPr>
          </a:lstStyle>
          <a:p>
            <a:r>
              <a:rPr lang="en-US" dirty="0"/>
              <a:t>Use Copilot to research market conditions</a:t>
            </a:r>
          </a:p>
          <a:p>
            <a:r>
              <a:rPr lang="en-US" dirty="0"/>
              <a:t>Use Copilot to compare sales across regions or other variables</a:t>
            </a:r>
          </a:p>
        </p:txBody>
      </p:sp>
      <p:sp>
        <p:nvSpPr>
          <p:cNvPr id="15" name="TextBox 14">
            <a:extLst>
              <a:ext uri="{FF2B5EF4-FFF2-40B4-BE49-F238E27FC236}">
                <a16:creationId xmlns:a16="http://schemas.microsoft.com/office/drawing/2014/main" id="{01B4A48C-3B0C-C4F6-2612-72AF837D9E17}"/>
              </a:ext>
            </a:extLst>
          </p:cNvPr>
          <p:cNvSpPr txBox="1"/>
          <p:nvPr/>
        </p:nvSpPr>
        <p:spPr>
          <a:xfrm>
            <a:off x="3629283" y="5075302"/>
            <a:ext cx="2603689" cy="338554"/>
          </a:xfrm>
          <a:prstGeom prst="rect">
            <a:avLst/>
          </a:prstGeom>
          <a:noFill/>
        </p:spPr>
        <p:txBody>
          <a:bodyPr wrap="square" lIns="0" tIns="0" rIns="0" bIns="0">
            <a:spAutoFit/>
          </a:bodyPr>
          <a:lstStyle/>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Improve marketing content with clear value propositions</a:t>
            </a:r>
          </a:p>
        </p:txBody>
      </p:sp>
      <p:sp>
        <p:nvSpPr>
          <p:cNvPr id="20" name="Rounded Rectangle 53">
            <a:extLst>
              <a:ext uri="{FF2B5EF4-FFF2-40B4-BE49-F238E27FC236}">
                <a16:creationId xmlns:a16="http://schemas.microsoft.com/office/drawing/2014/main" id="{7474D772-EE58-430B-0ABF-E2A4C7DE564D}"/>
              </a:ext>
            </a:extLst>
          </p:cNvPr>
          <p:cNvSpPr>
            <a:spLocks/>
          </p:cNvSpPr>
          <p:nvPr/>
        </p:nvSpPr>
        <p:spPr bwMode="auto">
          <a:xfrm>
            <a:off x="6456744" y="1278888"/>
            <a:ext cx="5072316" cy="4978899"/>
          </a:xfrm>
          <a:prstGeom prst="roundRect">
            <a:avLst>
              <a:gd name="adj" fmla="val 2006"/>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flip="none" rotWithShape="1">
                <a:gsLst>
                  <a:gs pos="37000">
                    <a:srgbClr val="0078D4"/>
                  </a:gs>
                  <a:gs pos="100000">
                    <a:srgbClr val="C03BC4"/>
                  </a:gs>
                </a:gsLst>
                <a:path path="circle">
                  <a:fillToRect r="100000" b="100000"/>
                </a:path>
                <a:tileRect l="-100000" t="-100000"/>
              </a:gradFill>
              <a:effectLst/>
              <a:uLnTx/>
              <a:uFillTx/>
              <a:latin typeface="Segoe UI Semibold"/>
              <a:ea typeface="+mn-ea"/>
              <a:cs typeface="+mn-cs"/>
            </a:endParaRPr>
          </a:p>
        </p:txBody>
      </p:sp>
      <p:sp>
        <p:nvSpPr>
          <p:cNvPr id="21" name="Rectangle: Rounded Corners 20">
            <a:extLst>
              <a:ext uri="{FF2B5EF4-FFF2-40B4-BE49-F238E27FC236}">
                <a16:creationId xmlns:a16="http://schemas.microsoft.com/office/drawing/2014/main" id="{2FA459F8-093B-7AC7-BB91-A7BDEF7C567D}"/>
              </a:ext>
            </a:extLst>
          </p:cNvPr>
          <p:cNvSpPr>
            <a:spLocks/>
          </p:cNvSpPr>
          <p:nvPr/>
        </p:nvSpPr>
        <p:spPr bwMode="auto">
          <a:xfrm>
            <a:off x="6527800" y="1370328"/>
            <a:ext cx="4866704" cy="401322"/>
          </a:xfrm>
          <a:prstGeom prst="roundRect">
            <a:avLst>
              <a:gd name="adj" fmla="val 2072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flip="none" rotWithShape="1">
                  <a:gsLst>
                    <a:gs pos="0">
                      <a:srgbClr val="C03BC4"/>
                    </a:gs>
                    <a:gs pos="56000">
                      <a:srgbClr val="0078D4"/>
                    </a:gs>
                  </a:gsLst>
                  <a:lin ang="13500000" scaled="1"/>
                  <a:tileRect/>
                </a:gradFill>
                <a:effectLst/>
                <a:uLnTx/>
                <a:uFillTx/>
                <a:latin typeface="Segoe UI Semibold"/>
                <a:ea typeface="+mn-ea"/>
                <a:cs typeface="Segoe UI Semilight"/>
              </a:rPr>
              <a:t>Value Calculation</a:t>
            </a:r>
          </a:p>
        </p:txBody>
      </p:sp>
      <p:sp>
        <p:nvSpPr>
          <p:cNvPr id="22" name="TextBox 21">
            <a:extLst>
              <a:ext uri="{FF2B5EF4-FFF2-40B4-BE49-F238E27FC236}">
                <a16:creationId xmlns:a16="http://schemas.microsoft.com/office/drawing/2014/main" id="{003AC19E-B22C-FC86-5911-5B83FA3D5E8E}"/>
              </a:ext>
            </a:extLst>
          </p:cNvPr>
          <p:cNvSpPr txBox="1">
            <a:spLocks/>
          </p:cNvSpPr>
          <p:nvPr/>
        </p:nvSpPr>
        <p:spPr>
          <a:xfrm>
            <a:off x="6528482" y="1924744"/>
            <a:ext cx="4865340" cy="2654573"/>
          </a:xfrm>
          <a:prstGeom prst="rect">
            <a:avLst/>
          </a:prstGeom>
          <a:noFill/>
        </p:spPr>
        <p:txBody>
          <a:bodyPr wrap="square" lIns="0" tIns="0" rIns="0" bIns="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cs typeface="Segoe UI" panose="020B0502040204020203" pitchFamily="34" charset="0"/>
              </a:rPr>
              <a:t>Count the Number of Sales:</a:t>
            </a:r>
            <a:r>
              <a:rPr kumimoji="0" lang="en-US" sz="1100" b="0" i="0" u="none" strike="noStrike" kern="1200" cap="none" spc="0" normalizeH="0" baseline="0" noProof="0" dirty="0">
                <a:ln>
                  <a:noFill/>
                </a:ln>
                <a:solidFill>
                  <a:srgbClr val="000000"/>
                </a:solidFill>
                <a:effectLst/>
                <a:uLnTx/>
                <a:uFillTx/>
                <a:cs typeface="Segoe UI" panose="020B0502040204020203" pitchFamily="34" charset="0"/>
              </a:rPr>
              <a:t> </a:t>
            </a:r>
            <a:r>
              <a:rPr kumimoji="0" lang="en-US" sz="1100" i="0" u="none" strike="noStrike" kern="1200" cap="none" spc="0" normalizeH="0" baseline="0" noProof="0" dirty="0">
                <a:ln>
                  <a:noFill/>
                </a:ln>
                <a:solidFill>
                  <a:srgbClr val="000000"/>
                </a:solidFill>
                <a:effectLst/>
                <a:uLnTx/>
                <a:uFillTx/>
                <a:cs typeface="Segoe UI" panose="020B0502040204020203" pitchFamily="34" charset="0"/>
              </a:rPr>
              <a:t>Determine the total number of transactions or sales made during a specific period.</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cs typeface="Segoe UI" panose="020B0502040204020203" pitchFamily="34" charset="0"/>
              </a:rPr>
              <a:t>Count the Total Number of Visitors:</a:t>
            </a:r>
            <a:r>
              <a:rPr kumimoji="0" lang="en-US" sz="1100" b="0" i="0" u="none" strike="noStrike" kern="1200" cap="none" spc="0" normalizeH="0" baseline="0" noProof="0" dirty="0">
                <a:ln>
                  <a:noFill/>
                </a:ln>
                <a:solidFill>
                  <a:srgbClr val="000000"/>
                </a:solidFill>
                <a:effectLst/>
                <a:uLnTx/>
                <a:uFillTx/>
                <a:cs typeface="Segoe UI" panose="020B0502040204020203" pitchFamily="34" charset="0"/>
              </a:rPr>
              <a:t> Track the total number of people who visited your store during the same period.</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cs typeface="Segoe UI" panose="020B0502040204020203" pitchFamily="34" charset="0"/>
              </a:rPr>
              <a:t>Divide the number of sales by the total number of visitors and multiply by 100 to get the percentage</a:t>
            </a:r>
          </a:p>
          <a:p>
            <a:pPr algn="l">
              <a:lnSpc>
                <a:spcPts val="2400"/>
              </a:lnSpc>
              <a:spcBef>
                <a:spcPts val="150"/>
              </a:spcBef>
              <a:spcAft>
                <a:spcPts val="450"/>
              </a:spcAft>
              <a:buNone/>
            </a:pPr>
            <a:r>
              <a:rPr lang="en-US" sz="1100" b="1" i="0" dirty="0">
                <a:solidFill>
                  <a:srgbClr val="424242"/>
                </a:solidFill>
                <a:effectLst/>
              </a:rPr>
              <a:t>Example</a:t>
            </a:r>
          </a:p>
          <a:p>
            <a:pPr algn="l">
              <a:spcBef>
                <a:spcPts val="450"/>
              </a:spcBef>
              <a:spcAft>
                <a:spcPts val="750"/>
              </a:spcAft>
              <a:buNone/>
            </a:pPr>
            <a:r>
              <a:rPr lang="en-US" sz="1100" b="0" i="0" dirty="0">
                <a:solidFill>
                  <a:srgbClr val="424242"/>
                </a:solidFill>
                <a:effectLst/>
              </a:rPr>
              <a:t>Let's say your store had 75 sales on a day when 500 people visited. The conversion rate would be:</a:t>
            </a:r>
          </a:p>
          <a:p>
            <a:pPr algn="l">
              <a:spcBef>
                <a:spcPts val="450"/>
              </a:spcBef>
              <a:spcAft>
                <a:spcPts val="750"/>
              </a:spcAft>
            </a:pPr>
            <a:r>
              <a:rPr lang="en-US" sz="1100" b="0" i="0" dirty="0">
                <a:solidFill>
                  <a:srgbClr val="424242"/>
                </a:solidFill>
                <a:effectLst/>
              </a:rPr>
              <a:t>Conversion Rate=(75/500)×100=15%</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23" name="Graphic 40">
            <a:extLst>
              <a:ext uri="{FF2B5EF4-FFF2-40B4-BE49-F238E27FC236}">
                <a16:creationId xmlns:a16="http://schemas.microsoft.com/office/drawing/2014/main" id="{4CCCD6AB-2861-718A-38FB-7F1023C2B95E}"/>
              </a:ext>
            </a:extLst>
          </p:cNvPr>
          <p:cNvSpPr/>
          <p:nvPr/>
        </p:nvSpPr>
        <p:spPr>
          <a:xfrm>
            <a:off x="6610350" y="1476092"/>
            <a:ext cx="210860" cy="189794"/>
          </a:xfrm>
          <a:custGeom>
            <a:avLst/>
            <a:gdLst>
              <a:gd name="connsiteX0" fmla="*/ 152390 w 190480"/>
              <a:gd name="connsiteY0" fmla="*/ 0 h 171450"/>
              <a:gd name="connsiteX1" fmla="*/ 158153 w 190480"/>
              <a:gd name="connsiteY1" fmla="*/ 2915 h 171450"/>
              <a:gd name="connsiteX2" fmla="*/ 158677 w 190480"/>
              <a:gd name="connsiteY2" fmla="*/ 3743 h 171450"/>
              <a:gd name="connsiteX3" fmla="*/ 189757 w 190480"/>
              <a:gd name="connsiteY3" fmla="*/ 61160 h 171450"/>
              <a:gd name="connsiteX4" fmla="*/ 190119 w 190480"/>
              <a:gd name="connsiteY4" fmla="*/ 62046 h 171450"/>
              <a:gd name="connsiteX5" fmla="*/ 190233 w 190480"/>
              <a:gd name="connsiteY5" fmla="*/ 62427 h 171450"/>
              <a:gd name="connsiteX6" fmla="*/ 190424 w 190480"/>
              <a:gd name="connsiteY6" fmla="*/ 63398 h 171450"/>
              <a:gd name="connsiteX7" fmla="*/ 190481 w 190480"/>
              <a:gd name="connsiteY7" fmla="*/ 64294 h 171450"/>
              <a:gd name="connsiteX8" fmla="*/ 190224 w 190480"/>
              <a:gd name="connsiteY8" fmla="*/ 66199 h 171450"/>
              <a:gd name="connsiteX9" fmla="*/ 189776 w 190480"/>
              <a:gd name="connsiteY9" fmla="*/ 67389 h 171450"/>
              <a:gd name="connsiteX10" fmla="*/ 189414 w 190480"/>
              <a:gd name="connsiteY10" fmla="*/ 68047 h 171450"/>
              <a:gd name="connsiteX11" fmla="*/ 188700 w 190480"/>
              <a:gd name="connsiteY11" fmla="*/ 69018 h 171450"/>
              <a:gd name="connsiteX12" fmla="*/ 189271 w 190480"/>
              <a:gd name="connsiteY12" fmla="*/ 68275 h 171450"/>
              <a:gd name="connsiteX13" fmla="*/ 189033 w 190480"/>
              <a:gd name="connsiteY13" fmla="*/ 68609 h 171450"/>
              <a:gd name="connsiteX14" fmla="*/ 100927 w 190480"/>
              <a:gd name="connsiteY14" fmla="*/ 168669 h 171450"/>
              <a:gd name="connsiteX15" fmla="*/ 98098 w 190480"/>
              <a:gd name="connsiteY15" fmla="*/ 170879 h 171450"/>
              <a:gd name="connsiteX16" fmla="*/ 97165 w 190480"/>
              <a:gd name="connsiteY16" fmla="*/ 171193 h 171450"/>
              <a:gd name="connsiteX17" fmla="*/ 96422 w 190480"/>
              <a:gd name="connsiteY17" fmla="*/ 171355 h 171450"/>
              <a:gd name="connsiteX18" fmla="*/ 95250 w 190480"/>
              <a:gd name="connsiteY18" fmla="*/ 171450 h 171450"/>
              <a:gd name="connsiteX19" fmla="*/ 94298 w 190480"/>
              <a:gd name="connsiteY19" fmla="*/ 171393 h 171450"/>
              <a:gd name="connsiteX20" fmla="*/ 93174 w 190480"/>
              <a:gd name="connsiteY20" fmla="*/ 171145 h 171450"/>
              <a:gd name="connsiteX21" fmla="*/ 91516 w 190480"/>
              <a:gd name="connsiteY21" fmla="*/ 170421 h 171450"/>
              <a:gd name="connsiteX22" fmla="*/ 91430 w 190480"/>
              <a:gd name="connsiteY22" fmla="*/ 170355 h 171450"/>
              <a:gd name="connsiteX23" fmla="*/ 90192 w 190480"/>
              <a:gd name="connsiteY23" fmla="*/ 169364 h 171450"/>
              <a:gd name="connsiteX24" fmla="*/ 1705 w 190480"/>
              <a:gd name="connsiteY24" fmla="*/ 68913 h 171450"/>
              <a:gd name="connsiteX25" fmla="*/ 1457 w 190480"/>
              <a:gd name="connsiteY25" fmla="*/ 68609 h 171450"/>
              <a:gd name="connsiteX26" fmla="*/ 1076 w 190480"/>
              <a:gd name="connsiteY26" fmla="*/ 68047 h 171450"/>
              <a:gd name="connsiteX27" fmla="*/ 67 w 190480"/>
              <a:gd name="connsiteY27" fmla="*/ 65180 h 171450"/>
              <a:gd name="connsiteX28" fmla="*/ 0 w 190480"/>
              <a:gd name="connsiteY28" fmla="*/ 64294 h 171450"/>
              <a:gd name="connsiteX29" fmla="*/ 29 w 190480"/>
              <a:gd name="connsiteY29" fmla="*/ 63665 h 171450"/>
              <a:gd name="connsiteX30" fmla="*/ 152 w 190480"/>
              <a:gd name="connsiteY30" fmla="*/ 62817 h 171450"/>
              <a:gd name="connsiteX31" fmla="*/ 381 w 190480"/>
              <a:gd name="connsiteY31" fmla="*/ 61998 h 171450"/>
              <a:gd name="connsiteX32" fmla="*/ 591 w 190480"/>
              <a:gd name="connsiteY32" fmla="*/ 61436 h 171450"/>
              <a:gd name="connsiteX33" fmla="*/ 857 w 190480"/>
              <a:gd name="connsiteY33" fmla="*/ 60893 h 171450"/>
              <a:gd name="connsiteX34" fmla="*/ 31814 w 190480"/>
              <a:gd name="connsiteY34" fmla="*/ 3743 h 171450"/>
              <a:gd name="connsiteX35" fmla="*/ 37119 w 190480"/>
              <a:gd name="connsiteY35" fmla="*/ 67 h 171450"/>
              <a:gd name="connsiteX36" fmla="*/ 38090 w 190480"/>
              <a:gd name="connsiteY36" fmla="*/ 0 h 171450"/>
              <a:gd name="connsiteX37" fmla="*/ 152390 w 190480"/>
              <a:gd name="connsiteY37" fmla="*/ 0 h 171450"/>
              <a:gd name="connsiteX38" fmla="*/ 123796 w 190480"/>
              <a:gd name="connsiteY38" fmla="*/ 71438 h 171450"/>
              <a:gd name="connsiteX39" fmla="*/ 66656 w 190480"/>
              <a:gd name="connsiteY39" fmla="*/ 71438 h 171450"/>
              <a:gd name="connsiteX40" fmla="*/ 95231 w 190480"/>
              <a:gd name="connsiteY40" fmla="*/ 144656 h 171450"/>
              <a:gd name="connsiteX41" fmla="*/ 123796 w 190480"/>
              <a:gd name="connsiteY41" fmla="*/ 71438 h 171450"/>
              <a:gd name="connsiteX42" fmla="*/ 51330 w 190480"/>
              <a:gd name="connsiteY42" fmla="*/ 71438 h 171450"/>
              <a:gd name="connsiteX43" fmla="*/ 22946 w 190480"/>
              <a:gd name="connsiteY43" fmla="*/ 71438 h 171450"/>
              <a:gd name="connsiteX44" fmla="*/ 73914 w 190480"/>
              <a:gd name="connsiteY44" fmla="*/ 129292 h 171450"/>
              <a:gd name="connsiteX45" fmla="*/ 51330 w 190480"/>
              <a:gd name="connsiteY45" fmla="*/ 71438 h 171450"/>
              <a:gd name="connsiteX46" fmla="*/ 167516 w 190480"/>
              <a:gd name="connsiteY46" fmla="*/ 71438 h 171450"/>
              <a:gd name="connsiteX47" fmla="*/ 139141 w 190480"/>
              <a:gd name="connsiteY47" fmla="*/ 71438 h 171450"/>
              <a:gd name="connsiteX48" fmla="*/ 116586 w 190480"/>
              <a:gd name="connsiteY48" fmla="*/ 129254 h 171450"/>
              <a:gd name="connsiteX49" fmla="*/ 167516 w 190480"/>
              <a:gd name="connsiteY49" fmla="*/ 71438 h 171450"/>
              <a:gd name="connsiteX50" fmla="*/ 66399 w 190480"/>
              <a:gd name="connsiteY50" fmla="*/ 14288 h 171450"/>
              <a:gd name="connsiteX51" fmla="*/ 42339 w 190480"/>
              <a:gd name="connsiteY51" fmla="*/ 14288 h 171450"/>
              <a:gd name="connsiteX52" fmla="*/ 19117 w 190480"/>
              <a:gd name="connsiteY52" fmla="*/ 57150 h 171450"/>
              <a:gd name="connsiteX53" fmla="*/ 52683 w 190480"/>
              <a:gd name="connsiteY53" fmla="*/ 57150 h 171450"/>
              <a:gd name="connsiteX54" fmla="*/ 66399 w 190480"/>
              <a:gd name="connsiteY54" fmla="*/ 14288 h 171450"/>
              <a:gd name="connsiteX55" fmla="*/ 109071 w 190480"/>
              <a:gd name="connsiteY55" fmla="*/ 14288 h 171450"/>
              <a:gd name="connsiteX56" fmla="*/ 81401 w 190480"/>
              <a:gd name="connsiteY56" fmla="*/ 14288 h 171450"/>
              <a:gd name="connsiteX57" fmla="*/ 67675 w 190480"/>
              <a:gd name="connsiteY57" fmla="*/ 57150 h 171450"/>
              <a:gd name="connsiteX58" fmla="*/ 122777 w 190480"/>
              <a:gd name="connsiteY58" fmla="*/ 57150 h 171450"/>
              <a:gd name="connsiteX59" fmla="*/ 109061 w 190480"/>
              <a:gd name="connsiteY59" fmla="*/ 14288 h 171450"/>
              <a:gd name="connsiteX60" fmla="*/ 148123 w 190480"/>
              <a:gd name="connsiteY60" fmla="*/ 14288 h 171450"/>
              <a:gd name="connsiteX61" fmla="*/ 124073 w 190480"/>
              <a:gd name="connsiteY61" fmla="*/ 14288 h 171450"/>
              <a:gd name="connsiteX62" fmla="*/ 137789 w 190480"/>
              <a:gd name="connsiteY62" fmla="*/ 57150 h 171450"/>
              <a:gd name="connsiteX63" fmla="*/ 171336 w 190480"/>
              <a:gd name="connsiteY63" fmla="*/ 57150 h 171450"/>
              <a:gd name="connsiteX64" fmla="*/ 148133 w 190480"/>
              <a:gd name="connsiteY64" fmla="*/ 14288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90480" h="171450">
                <a:moveTo>
                  <a:pt x="152390" y="0"/>
                </a:moveTo>
                <a:cubicBezTo>
                  <a:pt x="154666" y="-2"/>
                  <a:pt x="156806" y="1081"/>
                  <a:pt x="158153" y="2915"/>
                </a:cubicBezTo>
                <a:lnTo>
                  <a:pt x="158677" y="3743"/>
                </a:lnTo>
                <a:lnTo>
                  <a:pt x="189757" y="61160"/>
                </a:lnTo>
                <a:lnTo>
                  <a:pt x="190119" y="62046"/>
                </a:lnTo>
                <a:lnTo>
                  <a:pt x="190233" y="62427"/>
                </a:lnTo>
                <a:lnTo>
                  <a:pt x="190424" y="63398"/>
                </a:lnTo>
                <a:lnTo>
                  <a:pt x="190481" y="64294"/>
                </a:lnTo>
                <a:cubicBezTo>
                  <a:pt x="190482" y="64937"/>
                  <a:pt x="190395" y="65578"/>
                  <a:pt x="190224" y="66199"/>
                </a:cubicBezTo>
                <a:lnTo>
                  <a:pt x="189776" y="67389"/>
                </a:lnTo>
                <a:lnTo>
                  <a:pt x="189414" y="68047"/>
                </a:lnTo>
                <a:cubicBezTo>
                  <a:pt x="189204" y="68390"/>
                  <a:pt x="188965" y="68715"/>
                  <a:pt x="188700" y="69018"/>
                </a:cubicBezTo>
                <a:lnTo>
                  <a:pt x="189271" y="68275"/>
                </a:lnTo>
                <a:lnTo>
                  <a:pt x="189033" y="68609"/>
                </a:lnTo>
                <a:lnTo>
                  <a:pt x="100927" y="168669"/>
                </a:lnTo>
                <a:cubicBezTo>
                  <a:pt x="100195" y="169642"/>
                  <a:pt x="99219" y="170404"/>
                  <a:pt x="98098" y="170879"/>
                </a:cubicBezTo>
                <a:lnTo>
                  <a:pt x="97165" y="171193"/>
                </a:lnTo>
                <a:lnTo>
                  <a:pt x="96422" y="171355"/>
                </a:lnTo>
                <a:lnTo>
                  <a:pt x="95250" y="171450"/>
                </a:lnTo>
                <a:lnTo>
                  <a:pt x="94298" y="171393"/>
                </a:lnTo>
                <a:lnTo>
                  <a:pt x="93174" y="171145"/>
                </a:lnTo>
                <a:cubicBezTo>
                  <a:pt x="92592" y="170979"/>
                  <a:pt x="92034" y="170735"/>
                  <a:pt x="91516" y="170421"/>
                </a:cubicBezTo>
                <a:lnTo>
                  <a:pt x="91430" y="170355"/>
                </a:lnTo>
                <a:cubicBezTo>
                  <a:pt x="90978" y="170077"/>
                  <a:pt x="90563" y="169744"/>
                  <a:pt x="90192" y="169364"/>
                </a:cubicBezTo>
                <a:lnTo>
                  <a:pt x="1705" y="68913"/>
                </a:lnTo>
                <a:lnTo>
                  <a:pt x="1457" y="68609"/>
                </a:lnTo>
                <a:lnTo>
                  <a:pt x="1076" y="68047"/>
                </a:lnTo>
                <a:cubicBezTo>
                  <a:pt x="537" y="67175"/>
                  <a:pt x="192" y="66197"/>
                  <a:pt x="67" y="65180"/>
                </a:cubicBezTo>
                <a:lnTo>
                  <a:pt x="0" y="64294"/>
                </a:lnTo>
                <a:lnTo>
                  <a:pt x="29" y="63665"/>
                </a:lnTo>
                <a:lnTo>
                  <a:pt x="152" y="62817"/>
                </a:lnTo>
                <a:cubicBezTo>
                  <a:pt x="212" y="62540"/>
                  <a:pt x="288" y="62266"/>
                  <a:pt x="381" y="61998"/>
                </a:cubicBezTo>
                <a:lnTo>
                  <a:pt x="591" y="61436"/>
                </a:lnTo>
                <a:lnTo>
                  <a:pt x="857" y="60893"/>
                </a:lnTo>
                <a:lnTo>
                  <a:pt x="31814" y="3743"/>
                </a:lnTo>
                <a:cubicBezTo>
                  <a:pt x="32896" y="1743"/>
                  <a:pt x="34866" y="378"/>
                  <a:pt x="37119" y="67"/>
                </a:cubicBezTo>
                <a:lnTo>
                  <a:pt x="38090" y="0"/>
                </a:lnTo>
                <a:lnTo>
                  <a:pt x="152390" y="0"/>
                </a:lnTo>
                <a:close/>
                <a:moveTo>
                  <a:pt x="123796" y="71438"/>
                </a:moveTo>
                <a:lnTo>
                  <a:pt x="66656" y="71438"/>
                </a:lnTo>
                <a:lnTo>
                  <a:pt x="95231" y="144656"/>
                </a:lnTo>
                <a:lnTo>
                  <a:pt x="123796" y="71438"/>
                </a:lnTo>
                <a:close/>
                <a:moveTo>
                  <a:pt x="51330" y="71438"/>
                </a:moveTo>
                <a:lnTo>
                  <a:pt x="22946" y="71438"/>
                </a:lnTo>
                <a:lnTo>
                  <a:pt x="73914" y="129292"/>
                </a:lnTo>
                <a:lnTo>
                  <a:pt x="51330" y="71438"/>
                </a:lnTo>
                <a:close/>
                <a:moveTo>
                  <a:pt x="167516" y="71438"/>
                </a:moveTo>
                <a:lnTo>
                  <a:pt x="139141" y="71438"/>
                </a:lnTo>
                <a:lnTo>
                  <a:pt x="116586" y="129254"/>
                </a:lnTo>
                <a:lnTo>
                  <a:pt x="167516" y="71438"/>
                </a:lnTo>
                <a:close/>
                <a:moveTo>
                  <a:pt x="66399" y="14288"/>
                </a:moveTo>
                <a:lnTo>
                  <a:pt x="42339" y="14288"/>
                </a:lnTo>
                <a:lnTo>
                  <a:pt x="19117" y="57150"/>
                </a:lnTo>
                <a:lnTo>
                  <a:pt x="52683" y="57150"/>
                </a:lnTo>
                <a:lnTo>
                  <a:pt x="66399" y="14288"/>
                </a:lnTo>
                <a:close/>
                <a:moveTo>
                  <a:pt x="109071" y="14288"/>
                </a:moveTo>
                <a:lnTo>
                  <a:pt x="81401" y="14288"/>
                </a:lnTo>
                <a:lnTo>
                  <a:pt x="67675" y="57150"/>
                </a:lnTo>
                <a:lnTo>
                  <a:pt x="122777" y="57150"/>
                </a:lnTo>
                <a:lnTo>
                  <a:pt x="109061" y="14288"/>
                </a:lnTo>
                <a:close/>
                <a:moveTo>
                  <a:pt x="148123" y="14288"/>
                </a:moveTo>
                <a:lnTo>
                  <a:pt x="124073" y="14288"/>
                </a:lnTo>
                <a:lnTo>
                  <a:pt x="137789" y="57150"/>
                </a:lnTo>
                <a:lnTo>
                  <a:pt x="171336" y="57150"/>
                </a:lnTo>
                <a:lnTo>
                  <a:pt x="148133" y="14288"/>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25" name="Graphic 99" descr="Icon of a puzzle piece">
            <a:extLst>
              <a:ext uri="{FF2B5EF4-FFF2-40B4-BE49-F238E27FC236}">
                <a16:creationId xmlns:a16="http://schemas.microsoft.com/office/drawing/2014/main" id="{9F41BAAD-4FB5-9E00-2813-4D310B6DE4B8}"/>
              </a:ext>
            </a:extLst>
          </p:cNvPr>
          <p:cNvSpPr/>
          <p:nvPr/>
        </p:nvSpPr>
        <p:spPr>
          <a:xfrm>
            <a:off x="855010" y="4599639"/>
            <a:ext cx="159404" cy="187616"/>
          </a:xfrm>
          <a:custGeom>
            <a:avLst/>
            <a:gdLst>
              <a:gd name="connsiteX0" fmla="*/ 151509 w 257696"/>
              <a:gd name="connsiteY0" fmla="*/ 0 h 303303"/>
              <a:gd name="connsiteX1" fmla="*/ 196928 w 257696"/>
              <a:gd name="connsiteY1" fmla="*/ 42764 h 303303"/>
              <a:gd name="connsiteX2" fmla="*/ 197003 w 257696"/>
              <a:gd name="connsiteY2" fmla="*/ 45429 h 303303"/>
              <a:gd name="connsiteX3" fmla="*/ 231149 w 257696"/>
              <a:gd name="connsiteY3" fmla="*/ 45444 h 303303"/>
              <a:gd name="connsiteX4" fmla="*/ 257330 w 257696"/>
              <a:gd name="connsiteY4" fmla="*/ 67570 h 303303"/>
              <a:gd name="connsiteX5" fmla="*/ 257608 w 257696"/>
              <a:gd name="connsiteY5" fmla="*/ 69816 h 303303"/>
              <a:gd name="connsiteX6" fmla="*/ 257696 w 257696"/>
              <a:gd name="connsiteY6" fmla="*/ 71994 h 303303"/>
              <a:gd name="connsiteX7" fmla="*/ 257682 w 257696"/>
              <a:gd name="connsiteY7" fmla="*/ 128896 h 303303"/>
              <a:gd name="connsiteX8" fmla="*/ 227380 w 257696"/>
              <a:gd name="connsiteY8" fmla="*/ 128897 h 303303"/>
              <a:gd name="connsiteX9" fmla="*/ 204930 w 257696"/>
              <a:gd name="connsiteY9" fmla="*/ 147692 h 303303"/>
              <a:gd name="connsiteX10" fmla="*/ 204698 w 257696"/>
              <a:gd name="connsiteY10" fmla="*/ 149698 h 303303"/>
              <a:gd name="connsiteX11" fmla="*/ 204625 w 257696"/>
              <a:gd name="connsiteY11" fmla="*/ 151652 h 303303"/>
              <a:gd name="connsiteX12" fmla="*/ 223422 w 257696"/>
              <a:gd name="connsiteY12" fmla="*/ 174101 h 303303"/>
              <a:gd name="connsiteX13" fmla="*/ 225426 w 257696"/>
              <a:gd name="connsiteY13" fmla="*/ 174333 h 303303"/>
              <a:gd name="connsiteX14" fmla="*/ 227380 w 257696"/>
              <a:gd name="connsiteY14" fmla="*/ 174406 h 303303"/>
              <a:gd name="connsiteX15" fmla="*/ 257682 w 257696"/>
              <a:gd name="connsiteY15" fmla="*/ 174405 h 303303"/>
              <a:gd name="connsiteX16" fmla="*/ 257696 w 257696"/>
              <a:gd name="connsiteY16" fmla="*/ 231312 h 303303"/>
              <a:gd name="connsiteX17" fmla="*/ 233326 w 257696"/>
              <a:gd name="connsiteY17" fmla="*/ 257771 h 303303"/>
              <a:gd name="connsiteX18" fmla="*/ 231149 w 257696"/>
              <a:gd name="connsiteY18" fmla="*/ 257859 h 303303"/>
              <a:gd name="connsiteX19" fmla="*/ 197003 w 257696"/>
              <a:gd name="connsiteY19" fmla="*/ 257849 h 303303"/>
              <a:gd name="connsiteX20" fmla="*/ 196942 w 257696"/>
              <a:gd name="connsiteY20" fmla="*/ 260468 h 303303"/>
              <a:gd name="connsiteX21" fmla="*/ 156921 w 257696"/>
              <a:gd name="connsiteY21" fmla="*/ 302985 h 303303"/>
              <a:gd name="connsiteX22" fmla="*/ 154183 w 257696"/>
              <a:gd name="connsiteY22" fmla="*/ 303226 h 303303"/>
              <a:gd name="connsiteX23" fmla="*/ 151509 w 257696"/>
              <a:gd name="connsiteY23" fmla="*/ 303304 h 303303"/>
              <a:gd name="connsiteX24" fmla="*/ 106078 w 257696"/>
              <a:gd name="connsiteY24" fmla="*/ 260518 h 303303"/>
              <a:gd name="connsiteX25" fmla="*/ 106001 w 257696"/>
              <a:gd name="connsiteY25" fmla="*/ 257849 h 303303"/>
              <a:gd name="connsiteX26" fmla="*/ 71869 w 257696"/>
              <a:gd name="connsiteY26" fmla="*/ 257859 h 303303"/>
              <a:gd name="connsiteX27" fmla="*/ 45689 w 257696"/>
              <a:gd name="connsiteY27" fmla="*/ 235737 h 303303"/>
              <a:gd name="connsiteX28" fmla="*/ 45411 w 257696"/>
              <a:gd name="connsiteY28" fmla="*/ 233492 h 303303"/>
              <a:gd name="connsiteX29" fmla="*/ 45323 w 257696"/>
              <a:gd name="connsiteY29" fmla="*/ 231315 h 303303"/>
              <a:gd name="connsiteX30" fmla="*/ 45307 w 257696"/>
              <a:gd name="connsiteY30" fmla="*/ 197156 h 303303"/>
              <a:gd name="connsiteX31" fmla="*/ 42835 w 257696"/>
              <a:gd name="connsiteY31" fmla="*/ 197083 h 303303"/>
              <a:gd name="connsiteX32" fmla="*/ 318 w 257696"/>
              <a:gd name="connsiteY32" fmla="*/ 157063 h 303303"/>
              <a:gd name="connsiteX33" fmla="*/ 77 w 257696"/>
              <a:gd name="connsiteY33" fmla="*/ 154326 h 303303"/>
              <a:gd name="connsiteX34" fmla="*/ 0 w 257696"/>
              <a:gd name="connsiteY34" fmla="*/ 151652 h 303303"/>
              <a:gd name="connsiteX35" fmla="*/ 42834 w 257696"/>
              <a:gd name="connsiteY35" fmla="*/ 106220 h 303303"/>
              <a:gd name="connsiteX36" fmla="*/ 45307 w 257696"/>
              <a:gd name="connsiteY36" fmla="*/ 106138 h 303303"/>
              <a:gd name="connsiteX37" fmla="*/ 45323 w 257696"/>
              <a:gd name="connsiteY37" fmla="*/ 71991 h 303303"/>
              <a:gd name="connsiteX38" fmla="*/ 67445 w 257696"/>
              <a:gd name="connsiteY38" fmla="*/ 45811 h 303303"/>
              <a:gd name="connsiteX39" fmla="*/ 69690 w 257696"/>
              <a:gd name="connsiteY39" fmla="*/ 45532 h 303303"/>
              <a:gd name="connsiteX40" fmla="*/ 71867 w 257696"/>
              <a:gd name="connsiteY40" fmla="*/ 45444 h 303303"/>
              <a:gd name="connsiteX41" fmla="*/ 105986 w 257696"/>
              <a:gd name="connsiteY41" fmla="*/ 45429 h 303303"/>
              <a:gd name="connsiteX42" fmla="*/ 106078 w 257696"/>
              <a:gd name="connsiteY42" fmla="*/ 42835 h 303303"/>
              <a:gd name="connsiteX43" fmla="*/ 146098 w 257696"/>
              <a:gd name="connsiteY43" fmla="*/ 318 h 303303"/>
              <a:gd name="connsiteX44" fmla="*/ 148836 w 257696"/>
              <a:gd name="connsiteY44" fmla="*/ 77 h 303303"/>
              <a:gd name="connsiteX45" fmla="*/ 151509 w 257696"/>
              <a:gd name="connsiteY45" fmla="*/ 0 h 303303"/>
              <a:gd name="connsiteX46" fmla="*/ 151509 w 257696"/>
              <a:gd name="connsiteY46" fmla="*/ 22754 h 303303"/>
              <a:gd name="connsiteX47" fmla="*/ 128859 w 257696"/>
              <a:gd name="connsiteY47" fmla="*/ 43327 h 303303"/>
              <a:gd name="connsiteX48" fmla="*/ 128755 w 257696"/>
              <a:gd name="connsiteY48" fmla="*/ 45520 h 303303"/>
              <a:gd name="connsiteX49" fmla="*/ 128733 w 257696"/>
              <a:gd name="connsiteY49" fmla="*/ 68184 h 303303"/>
              <a:gd name="connsiteX50" fmla="*/ 71869 w 257696"/>
              <a:gd name="connsiteY50" fmla="*/ 68199 h 303303"/>
              <a:gd name="connsiteX51" fmla="*/ 68177 w 257696"/>
              <a:gd name="connsiteY51" fmla="*/ 71123 h 303303"/>
              <a:gd name="connsiteX52" fmla="*/ 68077 w 257696"/>
              <a:gd name="connsiteY52" fmla="*/ 71994 h 303303"/>
              <a:gd name="connsiteX53" fmla="*/ 68063 w 257696"/>
              <a:gd name="connsiteY53" fmla="*/ 128894 h 303303"/>
              <a:gd name="connsiteX54" fmla="*/ 45509 w 257696"/>
              <a:gd name="connsiteY54" fmla="*/ 128897 h 303303"/>
              <a:gd name="connsiteX55" fmla="*/ 22754 w 257696"/>
              <a:gd name="connsiteY55" fmla="*/ 151652 h 303303"/>
              <a:gd name="connsiteX56" fmla="*/ 43316 w 257696"/>
              <a:gd name="connsiteY56" fmla="*/ 174301 h 303303"/>
              <a:gd name="connsiteX57" fmla="*/ 45508 w 257696"/>
              <a:gd name="connsiteY57" fmla="*/ 174406 h 303303"/>
              <a:gd name="connsiteX58" fmla="*/ 68063 w 257696"/>
              <a:gd name="connsiteY58" fmla="*/ 174403 h 303303"/>
              <a:gd name="connsiteX59" fmla="*/ 68077 w 257696"/>
              <a:gd name="connsiteY59" fmla="*/ 231312 h 303303"/>
              <a:gd name="connsiteX60" fmla="*/ 70999 w 257696"/>
              <a:gd name="connsiteY60" fmla="*/ 235004 h 303303"/>
              <a:gd name="connsiteX61" fmla="*/ 71868 w 257696"/>
              <a:gd name="connsiteY61" fmla="*/ 235104 h 303303"/>
              <a:gd name="connsiteX62" fmla="*/ 128733 w 257696"/>
              <a:gd name="connsiteY62" fmla="*/ 235097 h 303303"/>
              <a:gd name="connsiteX63" fmla="*/ 128755 w 257696"/>
              <a:gd name="connsiteY63" fmla="*/ 257795 h 303303"/>
              <a:gd name="connsiteX64" fmla="*/ 151509 w 257696"/>
              <a:gd name="connsiteY64" fmla="*/ 280549 h 303303"/>
              <a:gd name="connsiteX65" fmla="*/ 174160 w 257696"/>
              <a:gd name="connsiteY65" fmla="*/ 259994 h 303303"/>
              <a:gd name="connsiteX66" fmla="*/ 174263 w 257696"/>
              <a:gd name="connsiteY66" fmla="*/ 257805 h 303303"/>
              <a:gd name="connsiteX67" fmla="*/ 174242 w 257696"/>
              <a:gd name="connsiteY67" fmla="*/ 235097 h 303303"/>
              <a:gd name="connsiteX68" fmla="*/ 231149 w 257696"/>
              <a:gd name="connsiteY68" fmla="*/ 235104 h 303303"/>
              <a:gd name="connsiteX69" fmla="*/ 234842 w 257696"/>
              <a:gd name="connsiteY69" fmla="*/ 232182 h 303303"/>
              <a:gd name="connsiteX70" fmla="*/ 234942 w 257696"/>
              <a:gd name="connsiteY70" fmla="*/ 231315 h 303303"/>
              <a:gd name="connsiteX71" fmla="*/ 234926 w 257696"/>
              <a:gd name="connsiteY71" fmla="*/ 197141 h 303303"/>
              <a:gd name="connsiteX72" fmla="*/ 226997 w 257696"/>
              <a:gd name="connsiteY72" fmla="*/ 197154 h 303303"/>
              <a:gd name="connsiteX73" fmla="*/ 224276 w 257696"/>
              <a:gd name="connsiteY73" fmla="*/ 197056 h 303303"/>
              <a:gd name="connsiteX74" fmla="*/ 181953 w 257696"/>
              <a:gd name="connsiteY74" fmla="*/ 153956 h 303303"/>
              <a:gd name="connsiteX75" fmla="*/ 181877 w 257696"/>
              <a:gd name="connsiteY75" fmla="*/ 151268 h 303303"/>
              <a:gd name="connsiteX76" fmla="*/ 181976 w 257696"/>
              <a:gd name="connsiteY76" fmla="*/ 148546 h 303303"/>
              <a:gd name="connsiteX77" fmla="*/ 224733 w 257696"/>
              <a:gd name="connsiteY77" fmla="*/ 106218 h 303303"/>
              <a:gd name="connsiteX78" fmla="*/ 227380 w 257696"/>
              <a:gd name="connsiteY78" fmla="*/ 106143 h 303303"/>
              <a:gd name="connsiteX79" fmla="*/ 234926 w 257696"/>
              <a:gd name="connsiteY79" fmla="*/ 106138 h 303303"/>
              <a:gd name="connsiteX80" fmla="*/ 234942 w 257696"/>
              <a:gd name="connsiteY80" fmla="*/ 71991 h 303303"/>
              <a:gd name="connsiteX81" fmla="*/ 232967 w 257696"/>
              <a:gd name="connsiteY81" fmla="*/ 68661 h 303303"/>
              <a:gd name="connsiteX82" fmla="*/ 232018 w 257696"/>
              <a:gd name="connsiteY82" fmla="*/ 68299 h 303303"/>
              <a:gd name="connsiteX83" fmla="*/ 231148 w 257696"/>
              <a:gd name="connsiteY83" fmla="*/ 68199 h 303303"/>
              <a:gd name="connsiteX84" fmla="*/ 174242 w 257696"/>
              <a:gd name="connsiteY84" fmla="*/ 68184 h 303303"/>
              <a:gd name="connsiteX85" fmla="*/ 174263 w 257696"/>
              <a:gd name="connsiteY85" fmla="*/ 45509 h 303303"/>
              <a:gd name="connsiteX86" fmla="*/ 151509 w 257696"/>
              <a:gd name="connsiteY86" fmla="*/ 22754 h 30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57696" h="303303">
                <a:moveTo>
                  <a:pt x="151509" y="0"/>
                </a:moveTo>
                <a:cubicBezTo>
                  <a:pt x="175745" y="0"/>
                  <a:pt x="195557" y="18946"/>
                  <a:pt x="196928" y="42764"/>
                </a:cubicBezTo>
                <a:lnTo>
                  <a:pt x="197003" y="45429"/>
                </a:lnTo>
                <a:lnTo>
                  <a:pt x="231149" y="45444"/>
                </a:lnTo>
                <a:cubicBezTo>
                  <a:pt x="244304" y="45444"/>
                  <a:pt x="255225" y="55012"/>
                  <a:pt x="257330" y="67570"/>
                </a:cubicBezTo>
                <a:lnTo>
                  <a:pt x="257608" y="69816"/>
                </a:lnTo>
                <a:lnTo>
                  <a:pt x="257696" y="71994"/>
                </a:lnTo>
                <a:lnTo>
                  <a:pt x="257682" y="128896"/>
                </a:lnTo>
                <a:lnTo>
                  <a:pt x="227380" y="128897"/>
                </a:lnTo>
                <a:cubicBezTo>
                  <a:pt x="216100" y="128897"/>
                  <a:pt x="206655" y="137137"/>
                  <a:pt x="204930" y="147692"/>
                </a:cubicBezTo>
                <a:lnTo>
                  <a:pt x="204698" y="149698"/>
                </a:lnTo>
                <a:lnTo>
                  <a:pt x="204625" y="151652"/>
                </a:lnTo>
                <a:cubicBezTo>
                  <a:pt x="204625" y="162932"/>
                  <a:pt x="212865" y="172376"/>
                  <a:pt x="223422" y="174101"/>
                </a:cubicBezTo>
                <a:lnTo>
                  <a:pt x="225426" y="174333"/>
                </a:lnTo>
                <a:lnTo>
                  <a:pt x="227380" y="174406"/>
                </a:lnTo>
                <a:lnTo>
                  <a:pt x="257682" y="174405"/>
                </a:lnTo>
                <a:lnTo>
                  <a:pt x="257696" y="231312"/>
                </a:lnTo>
                <a:cubicBezTo>
                  <a:pt x="257696" y="245240"/>
                  <a:pt x="246970" y="256663"/>
                  <a:pt x="233326" y="257771"/>
                </a:cubicBezTo>
                <a:lnTo>
                  <a:pt x="231149" y="257859"/>
                </a:lnTo>
                <a:lnTo>
                  <a:pt x="197003" y="257849"/>
                </a:lnTo>
                <a:lnTo>
                  <a:pt x="196942" y="260468"/>
                </a:lnTo>
                <a:cubicBezTo>
                  <a:pt x="195662" y="282552"/>
                  <a:pt x="178634" y="300412"/>
                  <a:pt x="156921" y="302985"/>
                </a:cubicBezTo>
                <a:lnTo>
                  <a:pt x="154183" y="303226"/>
                </a:lnTo>
                <a:lnTo>
                  <a:pt x="151509" y="303304"/>
                </a:lnTo>
                <a:cubicBezTo>
                  <a:pt x="127274" y="303304"/>
                  <a:pt x="107463" y="284357"/>
                  <a:pt x="106078" y="260518"/>
                </a:cubicBezTo>
                <a:lnTo>
                  <a:pt x="106001" y="257849"/>
                </a:lnTo>
                <a:lnTo>
                  <a:pt x="71869" y="257859"/>
                </a:lnTo>
                <a:cubicBezTo>
                  <a:pt x="58715" y="257859"/>
                  <a:pt x="47795" y="248291"/>
                  <a:pt x="45689" y="235737"/>
                </a:cubicBezTo>
                <a:lnTo>
                  <a:pt x="45411" y="233492"/>
                </a:lnTo>
                <a:lnTo>
                  <a:pt x="45323" y="231315"/>
                </a:lnTo>
                <a:lnTo>
                  <a:pt x="45307" y="197156"/>
                </a:lnTo>
                <a:lnTo>
                  <a:pt x="42835" y="197083"/>
                </a:lnTo>
                <a:cubicBezTo>
                  <a:pt x="20750" y="195803"/>
                  <a:pt x="2891" y="178776"/>
                  <a:pt x="318" y="157063"/>
                </a:cubicBezTo>
                <a:lnTo>
                  <a:pt x="77" y="154326"/>
                </a:lnTo>
                <a:lnTo>
                  <a:pt x="0" y="151652"/>
                </a:lnTo>
                <a:cubicBezTo>
                  <a:pt x="0" y="127415"/>
                  <a:pt x="18946" y="107604"/>
                  <a:pt x="42834" y="106220"/>
                </a:cubicBezTo>
                <a:lnTo>
                  <a:pt x="45307" y="106138"/>
                </a:lnTo>
                <a:lnTo>
                  <a:pt x="45323" y="71991"/>
                </a:lnTo>
                <a:cubicBezTo>
                  <a:pt x="45323" y="58837"/>
                  <a:pt x="54890" y="47917"/>
                  <a:pt x="67445" y="45811"/>
                </a:cubicBezTo>
                <a:lnTo>
                  <a:pt x="69690" y="45532"/>
                </a:lnTo>
                <a:lnTo>
                  <a:pt x="71867" y="45444"/>
                </a:lnTo>
                <a:lnTo>
                  <a:pt x="105986" y="45429"/>
                </a:lnTo>
                <a:lnTo>
                  <a:pt x="106078" y="42835"/>
                </a:lnTo>
                <a:cubicBezTo>
                  <a:pt x="107358" y="20750"/>
                  <a:pt x="124386" y="2891"/>
                  <a:pt x="146098" y="318"/>
                </a:cubicBezTo>
                <a:lnTo>
                  <a:pt x="148836" y="77"/>
                </a:lnTo>
                <a:lnTo>
                  <a:pt x="151509" y="0"/>
                </a:lnTo>
                <a:close/>
                <a:moveTo>
                  <a:pt x="151509" y="22754"/>
                </a:moveTo>
                <a:cubicBezTo>
                  <a:pt x="139683" y="22754"/>
                  <a:pt x="129962" y="31778"/>
                  <a:pt x="128859" y="43327"/>
                </a:cubicBezTo>
                <a:lnTo>
                  <a:pt x="128755" y="45520"/>
                </a:lnTo>
                <a:lnTo>
                  <a:pt x="128733" y="68184"/>
                </a:lnTo>
                <a:lnTo>
                  <a:pt x="71869" y="68199"/>
                </a:lnTo>
                <a:cubicBezTo>
                  <a:pt x="70074" y="68199"/>
                  <a:pt x="68570" y="69446"/>
                  <a:pt x="68177" y="71123"/>
                </a:cubicBezTo>
                <a:lnTo>
                  <a:pt x="68077" y="71994"/>
                </a:lnTo>
                <a:lnTo>
                  <a:pt x="68063" y="128894"/>
                </a:lnTo>
                <a:lnTo>
                  <a:pt x="45509" y="128897"/>
                </a:lnTo>
                <a:cubicBezTo>
                  <a:pt x="32942" y="128897"/>
                  <a:pt x="22754" y="139085"/>
                  <a:pt x="22754" y="151652"/>
                </a:cubicBezTo>
                <a:cubicBezTo>
                  <a:pt x="22754" y="163479"/>
                  <a:pt x="31779" y="173199"/>
                  <a:pt x="43316" y="174301"/>
                </a:cubicBezTo>
                <a:lnTo>
                  <a:pt x="45508" y="174406"/>
                </a:lnTo>
                <a:lnTo>
                  <a:pt x="68063" y="174403"/>
                </a:lnTo>
                <a:lnTo>
                  <a:pt x="68077" y="231312"/>
                </a:lnTo>
                <a:cubicBezTo>
                  <a:pt x="68077" y="233106"/>
                  <a:pt x="69324" y="234611"/>
                  <a:pt x="70999" y="235004"/>
                </a:cubicBezTo>
                <a:lnTo>
                  <a:pt x="71868" y="235104"/>
                </a:lnTo>
                <a:lnTo>
                  <a:pt x="128733" y="235097"/>
                </a:lnTo>
                <a:lnTo>
                  <a:pt x="128755" y="257795"/>
                </a:lnTo>
                <a:cubicBezTo>
                  <a:pt x="128755" y="270361"/>
                  <a:pt x="138942" y="280549"/>
                  <a:pt x="151509" y="280549"/>
                </a:cubicBezTo>
                <a:cubicBezTo>
                  <a:pt x="163337" y="280549"/>
                  <a:pt x="173057" y="271525"/>
                  <a:pt x="174160" y="259994"/>
                </a:cubicBezTo>
                <a:lnTo>
                  <a:pt x="174263" y="257805"/>
                </a:lnTo>
                <a:lnTo>
                  <a:pt x="174242" y="235097"/>
                </a:lnTo>
                <a:lnTo>
                  <a:pt x="231149" y="235104"/>
                </a:lnTo>
                <a:cubicBezTo>
                  <a:pt x="232945" y="235104"/>
                  <a:pt x="234449" y="233857"/>
                  <a:pt x="234842" y="232182"/>
                </a:cubicBezTo>
                <a:lnTo>
                  <a:pt x="234942" y="231315"/>
                </a:lnTo>
                <a:lnTo>
                  <a:pt x="234926" y="197141"/>
                </a:lnTo>
                <a:lnTo>
                  <a:pt x="226997" y="197154"/>
                </a:lnTo>
                <a:lnTo>
                  <a:pt x="224276" y="197056"/>
                </a:lnTo>
                <a:cubicBezTo>
                  <a:pt x="201350" y="195505"/>
                  <a:pt x="183256" y="177070"/>
                  <a:pt x="181953" y="153956"/>
                </a:cubicBezTo>
                <a:lnTo>
                  <a:pt x="181877" y="151268"/>
                </a:lnTo>
                <a:lnTo>
                  <a:pt x="181976" y="148546"/>
                </a:lnTo>
                <a:cubicBezTo>
                  <a:pt x="183526" y="125621"/>
                  <a:pt x="201961" y="107527"/>
                  <a:pt x="224733" y="106218"/>
                </a:cubicBezTo>
                <a:lnTo>
                  <a:pt x="227380" y="106143"/>
                </a:lnTo>
                <a:lnTo>
                  <a:pt x="234926" y="106138"/>
                </a:lnTo>
                <a:lnTo>
                  <a:pt x="234942" y="71991"/>
                </a:lnTo>
                <a:cubicBezTo>
                  <a:pt x="234942" y="70555"/>
                  <a:pt x="234144" y="69305"/>
                  <a:pt x="232967" y="68661"/>
                </a:cubicBezTo>
                <a:lnTo>
                  <a:pt x="232018" y="68299"/>
                </a:lnTo>
                <a:lnTo>
                  <a:pt x="231148" y="68199"/>
                </a:lnTo>
                <a:lnTo>
                  <a:pt x="174242" y="68184"/>
                </a:lnTo>
                <a:lnTo>
                  <a:pt x="174263" y="45509"/>
                </a:lnTo>
                <a:cubicBezTo>
                  <a:pt x="174263" y="32942"/>
                  <a:pt x="164077" y="22754"/>
                  <a:pt x="151509" y="22754"/>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26" name="Graphic 43" descr="Icon of a document with a lifeline">
            <a:extLst>
              <a:ext uri="{FF2B5EF4-FFF2-40B4-BE49-F238E27FC236}">
                <a16:creationId xmlns:a16="http://schemas.microsoft.com/office/drawing/2014/main" id="{5F88ABEA-30B8-F5CE-9CF8-B406ADB5DB5F}"/>
              </a:ext>
            </a:extLst>
          </p:cNvPr>
          <p:cNvSpPr/>
          <p:nvPr/>
        </p:nvSpPr>
        <p:spPr>
          <a:xfrm>
            <a:off x="3716426" y="4608080"/>
            <a:ext cx="156772" cy="174190"/>
          </a:xfrm>
          <a:custGeom>
            <a:avLst/>
            <a:gdLst>
              <a:gd name="connsiteX0" fmla="*/ 274357 w 308652"/>
              <a:gd name="connsiteY0" fmla="*/ 317226 h 342946"/>
              <a:gd name="connsiteX1" fmla="*/ 282931 w 308652"/>
              <a:gd name="connsiteY1" fmla="*/ 308652 h 342946"/>
              <a:gd name="connsiteX2" fmla="*/ 282931 w 308652"/>
              <a:gd name="connsiteY2" fmla="*/ 137179 h 342946"/>
              <a:gd name="connsiteX3" fmla="*/ 205768 w 308652"/>
              <a:gd name="connsiteY3" fmla="*/ 137179 h 342946"/>
              <a:gd name="connsiteX4" fmla="*/ 171473 w 308652"/>
              <a:gd name="connsiteY4" fmla="*/ 102884 h 342946"/>
              <a:gd name="connsiteX5" fmla="*/ 171473 w 308652"/>
              <a:gd name="connsiteY5" fmla="*/ 25721 h 342946"/>
              <a:gd name="connsiteX6" fmla="*/ 68589 w 308652"/>
              <a:gd name="connsiteY6" fmla="*/ 25721 h 342946"/>
              <a:gd name="connsiteX7" fmla="*/ 60016 w 308652"/>
              <a:gd name="connsiteY7" fmla="*/ 34295 h 342946"/>
              <a:gd name="connsiteX8" fmla="*/ 60016 w 308652"/>
              <a:gd name="connsiteY8" fmla="*/ 124318 h 342946"/>
              <a:gd name="connsiteX9" fmla="*/ 47155 w 308652"/>
              <a:gd name="connsiteY9" fmla="*/ 137179 h 342946"/>
              <a:gd name="connsiteX10" fmla="*/ 34295 w 308652"/>
              <a:gd name="connsiteY10" fmla="*/ 124318 h 342946"/>
              <a:gd name="connsiteX11" fmla="*/ 34295 w 308652"/>
              <a:gd name="connsiteY11" fmla="*/ 34295 h 342946"/>
              <a:gd name="connsiteX12" fmla="*/ 68589 w 308652"/>
              <a:gd name="connsiteY12" fmla="*/ 0 h 342946"/>
              <a:gd name="connsiteX13" fmla="*/ 174423 w 308652"/>
              <a:gd name="connsiteY13" fmla="*/ 0 h 342946"/>
              <a:gd name="connsiteX14" fmla="*/ 175832 w 308652"/>
              <a:gd name="connsiteY14" fmla="*/ 127 h 342946"/>
              <a:gd name="connsiteX15" fmla="*/ 176840 w 308652"/>
              <a:gd name="connsiteY15" fmla="*/ 240 h 342946"/>
              <a:gd name="connsiteX16" fmla="*/ 187540 w 308652"/>
              <a:gd name="connsiteY16" fmla="*/ 2606 h 342946"/>
              <a:gd name="connsiteX17" fmla="*/ 190387 w 308652"/>
              <a:gd name="connsiteY17" fmla="*/ 4104 h 342946"/>
              <a:gd name="connsiteX18" fmla="*/ 191244 w 308652"/>
              <a:gd name="connsiteY18" fmla="*/ 4595 h 342946"/>
              <a:gd name="connsiteX19" fmla="*/ 192059 w 308652"/>
              <a:gd name="connsiteY19" fmla="*/ 5008 h 342946"/>
              <a:gd name="connsiteX20" fmla="*/ 193439 w 308652"/>
              <a:gd name="connsiteY20" fmla="*/ 5762 h 342946"/>
              <a:gd name="connsiteX21" fmla="*/ 197194 w 308652"/>
              <a:gd name="connsiteY21" fmla="*/ 8848 h 342946"/>
              <a:gd name="connsiteX22" fmla="*/ 197817 w 308652"/>
              <a:gd name="connsiteY22" fmla="*/ 9349 h 342946"/>
              <a:gd name="connsiteX23" fmla="*/ 198652 w 308652"/>
              <a:gd name="connsiteY23" fmla="*/ 10048 h 342946"/>
              <a:gd name="connsiteX24" fmla="*/ 298604 w 308652"/>
              <a:gd name="connsiteY24" fmla="*/ 109983 h 342946"/>
              <a:gd name="connsiteX25" fmla="*/ 308652 w 308652"/>
              <a:gd name="connsiteY25" fmla="*/ 134229 h 342946"/>
              <a:gd name="connsiteX26" fmla="*/ 308652 w 308652"/>
              <a:gd name="connsiteY26" fmla="*/ 308652 h 342946"/>
              <a:gd name="connsiteX27" fmla="*/ 274357 w 308652"/>
              <a:gd name="connsiteY27" fmla="*/ 342947 h 342946"/>
              <a:gd name="connsiteX28" fmla="*/ 68589 w 308652"/>
              <a:gd name="connsiteY28" fmla="*/ 342947 h 342946"/>
              <a:gd name="connsiteX29" fmla="*/ 34295 w 308652"/>
              <a:gd name="connsiteY29" fmla="*/ 308652 h 342946"/>
              <a:gd name="connsiteX30" fmla="*/ 34295 w 308652"/>
              <a:gd name="connsiteY30" fmla="*/ 244350 h 342946"/>
              <a:gd name="connsiteX31" fmla="*/ 47155 w 308652"/>
              <a:gd name="connsiteY31" fmla="*/ 231489 h 342946"/>
              <a:gd name="connsiteX32" fmla="*/ 60016 w 308652"/>
              <a:gd name="connsiteY32" fmla="*/ 244350 h 342946"/>
              <a:gd name="connsiteX33" fmla="*/ 60016 w 308652"/>
              <a:gd name="connsiteY33" fmla="*/ 308652 h 342946"/>
              <a:gd name="connsiteX34" fmla="*/ 68589 w 308652"/>
              <a:gd name="connsiteY34" fmla="*/ 317226 h 342946"/>
              <a:gd name="connsiteX35" fmla="*/ 274357 w 308652"/>
              <a:gd name="connsiteY35" fmla="*/ 317226 h 342946"/>
              <a:gd name="connsiteX36" fmla="*/ 263692 w 308652"/>
              <a:gd name="connsiteY36" fmla="*/ 111458 h 342946"/>
              <a:gd name="connsiteX37" fmla="*/ 197194 w 308652"/>
              <a:gd name="connsiteY37" fmla="*/ 44943 h 342946"/>
              <a:gd name="connsiteX38" fmla="*/ 197194 w 308652"/>
              <a:gd name="connsiteY38" fmla="*/ 102884 h 342946"/>
              <a:gd name="connsiteX39" fmla="*/ 205768 w 308652"/>
              <a:gd name="connsiteY39" fmla="*/ 111458 h 342946"/>
              <a:gd name="connsiteX40" fmla="*/ 263692 w 308652"/>
              <a:gd name="connsiteY40" fmla="*/ 111458 h 342946"/>
              <a:gd name="connsiteX41" fmla="*/ 12861 w 308652"/>
              <a:gd name="connsiteY41" fmla="*/ 188621 h 342946"/>
              <a:gd name="connsiteX42" fmla="*/ 55816 w 308652"/>
              <a:gd name="connsiteY42" fmla="*/ 188621 h 342946"/>
              <a:gd name="connsiteX43" fmla="*/ 82509 w 308652"/>
              <a:gd name="connsiteY43" fmla="*/ 127729 h 342946"/>
              <a:gd name="connsiteX44" fmla="*/ 105265 w 308652"/>
              <a:gd name="connsiteY44" fmla="*/ 126170 h 342946"/>
              <a:gd name="connsiteX45" fmla="*/ 105363 w 308652"/>
              <a:gd name="connsiteY45" fmla="*/ 126333 h 342946"/>
              <a:gd name="connsiteX46" fmla="*/ 106226 w 308652"/>
              <a:gd name="connsiteY46" fmla="*/ 128111 h 342946"/>
              <a:gd name="connsiteX47" fmla="*/ 147606 w 308652"/>
              <a:gd name="connsiteY47" fmla="*/ 231450 h 342946"/>
              <a:gd name="connsiteX48" fmla="*/ 172070 w 308652"/>
              <a:gd name="connsiteY48" fmla="*/ 195444 h 342946"/>
              <a:gd name="connsiteX49" fmla="*/ 181422 w 308652"/>
              <a:gd name="connsiteY49" fmla="*/ 188777 h 342946"/>
              <a:gd name="connsiteX50" fmla="*/ 181606 w 308652"/>
              <a:gd name="connsiteY50" fmla="*/ 188748 h 342946"/>
              <a:gd name="connsiteX51" fmla="*/ 183427 w 308652"/>
              <a:gd name="connsiteY51" fmla="*/ 188619 h 342946"/>
              <a:gd name="connsiteX52" fmla="*/ 217720 w 308652"/>
              <a:gd name="connsiteY52" fmla="*/ 188619 h 342946"/>
              <a:gd name="connsiteX53" fmla="*/ 230580 w 308652"/>
              <a:gd name="connsiteY53" fmla="*/ 201479 h 342946"/>
              <a:gd name="connsiteX54" fmla="*/ 219659 w 308652"/>
              <a:gd name="connsiteY54" fmla="*/ 214196 h 342946"/>
              <a:gd name="connsiteX55" fmla="*/ 219482 w 308652"/>
              <a:gd name="connsiteY55" fmla="*/ 214222 h 342946"/>
              <a:gd name="connsiteX56" fmla="*/ 217720 w 308652"/>
              <a:gd name="connsiteY56" fmla="*/ 214340 h 342946"/>
              <a:gd name="connsiteX57" fmla="*/ 191069 w 308652"/>
              <a:gd name="connsiteY57" fmla="*/ 214340 h 342946"/>
              <a:gd name="connsiteX58" fmla="*/ 157140 w 308652"/>
              <a:gd name="connsiteY58" fmla="*/ 267390 h 342946"/>
              <a:gd name="connsiteX59" fmla="*/ 134747 w 308652"/>
              <a:gd name="connsiteY59" fmla="*/ 268088 h 342946"/>
              <a:gd name="connsiteX60" fmla="*/ 134651 w 308652"/>
              <a:gd name="connsiteY60" fmla="*/ 267929 h 342946"/>
              <a:gd name="connsiteX61" fmla="*/ 133814 w 308652"/>
              <a:gd name="connsiteY61" fmla="*/ 266195 h 342946"/>
              <a:gd name="connsiteX62" fmla="*/ 93751 w 308652"/>
              <a:gd name="connsiteY62" fmla="*/ 166147 h 342946"/>
              <a:gd name="connsiteX63" fmla="*/ 75999 w 308652"/>
              <a:gd name="connsiteY63" fmla="*/ 206644 h 342946"/>
              <a:gd name="connsiteX64" fmla="*/ 67108 w 308652"/>
              <a:gd name="connsiteY64" fmla="*/ 214014 h 342946"/>
              <a:gd name="connsiteX65" fmla="*/ 66319 w 308652"/>
              <a:gd name="connsiteY65" fmla="*/ 214170 h 342946"/>
              <a:gd name="connsiteX66" fmla="*/ 66128 w 308652"/>
              <a:gd name="connsiteY66" fmla="*/ 214201 h 342946"/>
              <a:gd name="connsiteX67" fmla="*/ 64220 w 308652"/>
              <a:gd name="connsiteY67" fmla="*/ 214342 h 342946"/>
              <a:gd name="connsiteX68" fmla="*/ 12861 w 308652"/>
              <a:gd name="connsiteY68" fmla="*/ 214342 h 342946"/>
              <a:gd name="connsiteX69" fmla="*/ 0 w 308652"/>
              <a:gd name="connsiteY69" fmla="*/ 201481 h 342946"/>
              <a:gd name="connsiteX70" fmla="*/ 10921 w 308652"/>
              <a:gd name="connsiteY70" fmla="*/ 188766 h 342946"/>
              <a:gd name="connsiteX71" fmla="*/ 11097 w 308652"/>
              <a:gd name="connsiteY71" fmla="*/ 188739 h 342946"/>
              <a:gd name="connsiteX72" fmla="*/ 12861 w 308652"/>
              <a:gd name="connsiteY72" fmla="*/ 188621 h 342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08652" h="342946">
                <a:moveTo>
                  <a:pt x="274357" y="317226"/>
                </a:moveTo>
                <a:cubicBezTo>
                  <a:pt x="279090" y="317226"/>
                  <a:pt x="282931" y="313368"/>
                  <a:pt x="282931" y="308652"/>
                </a:cubicBezTo>
                <a:lnTo>
                  <a:pt x="282931" y="137179"/>
                </a:lnTo>
                <a:lnTo>
                  <a:pt x="205768" y="137179"/>
                </a:lnTo>
                <a:cubicBezTo>
                  <a:pt x="186837" y="137179"/>
                  <a:pt x="171473" y="121815"/>
                  <a:pt x="171473" y="102884"/>
                </a:cubicBezTo>
                <a:lnTo>
                  <a:pt x="171473" y="25721"/>
                </a:lnTo>
                <a:lnTo>
                  <a:pt x="68589" y="25721"/>
                </a:lnTo>
                <a:cubicBezTo>
                  <a:pt x="63857" y="25721"/>
                  <a:pt x="60016" y="29579"/>
                  <a:pt x="60016" y="34295"/>
                </a:cubicBezTo>
                <a:lnTo>
                  <a:pt x="60016" y="124318"/>
                </a:lnTo>
                <a:cubicBezTo>
                  <a:pt x="60016" y="131421"/>
                  <a:pt x="54258" y="137179"/>
                  <a:pt x="47155" y="137179"/>
                </a:cubicBezTo>
                <a:cubicBezTo>
                  <a:pt x="40053" y="137179"/>
                  <a:pt x="34295" y="131421"/>
                  <a:pt x="34295" y="124318"/>
                </a:cubicBezTo>
                <a:lnTo>
                  <a:pt x="34295" y="34295"/>
                </a:lnTo>
                <a:cubicBezTo>
                  <a:pt x="34295" y="15364"/>
                  <a:pt x="49659" y="0"/>
                  <a:pt x="68589" y="0"/>
                </a:cubicBezTo>
                <a:lnTo>
                  <a:pt x="174423" y="0"/>
                </a:lnTo>
                <a:cubicBezTo>
                  <a:pt x="174901" y="0"/>
                  <a:pt x="175368" y="64"/>
                  <a:pt x="175832" y="127"/>
                </a:cubicBezTo>
                <a:cubicBezTo>
                  <a:pt x="176168" y="173"/>
                  <a:pt x="176503" y="218"/>
                  <a:pt x="176840" y="240"/>
                </a:cubicBezTo>
                <a:cubicBezTo>
                  <a:pt x="180527" y="497"/>
                  <a:pt x="184162" y="1200"/>
                  <a:pt x="187540" y="2606"/>
                </a:cubicBezTo>
                <a:cubicBezTo>
                  <a:pt x="188525" y="3026"/>
                  <a:pt x="189457" y="3566"/>
                  <a:pt x="190387" y="4104"/>
                </a:cubicBezTo>
                <a:cubicBezTo>
                  <a:pt x="190673" y="4269"/>
                  <a:pt x="190958" y="4434"/>
                  <a:pt x="191244" y="4595"/>
                </a:cubicBezTo>
                <a:cubicBezTo>
                  <a:pt x="191510" y="4741"/>
                  <a:pt x="191784" y="4874"/>
                  <a:pt x="192059" y="5008"/>
                </a:cubicBezTo>
                <a:cubicBezTo>
                  <a:pt x="192532" y="5238"/>
                  <a:pt x="193005" y="5469"/>
                  <a:pt x="193439" y="5762"/>
                </a:cubicBezTo>
                <a:cubicBezTo>
                  <a:pt x="194777" y="6670"/>
                  <a:pt x="195977" y="7751"/>
                  <a:pt x="197194" y="8848"/>
                </a:cubicBezTo>
                <a:cubicBezTo>
                  <a:pt x="197392" y="9023"/>
                  <a:pt x="197602" y="9185"/>
                  <a:pt x="197817" y="9349"/>
                </a:cubicBezTo>
                <a:cubicBezTo>
                  <a:pt x="198105" y="9570"/>
                  <a:pt x="198395" y="9792"/>
                  <a:pt x="198652" y="10048"/>
                </a:cubicBezTo>
                <a:lnTo>
                  <a:pt x="298604" y="109983"/>
                </a:lnTo>
                <a:cubicBezTo>
                  <a:pt x="305034" y="116413"/>
                  <a:pt x="308652" y="125141"/>
                  <a:pt x="308652" y="134229"/>
                </a:cubicBezTo>
                <a:lnTo>
                  <a:pt x="308652" y="308652"/>
                </a:lnTo>
                <a:cubicBezTo>
                  <a:pt x="308652" y="327583"/>
                  <a:pt x="293288" y="342947"/>
                  <a:pt x="274357" y="342947"/>
                </a:cubicBezTo>
                <a:lnTo>
                  <a:pt x="68589" y="342947"/>
                </a:lnTo>
                <a:cubicBezTo>
                  <a:pt x="49659" y="342947"/>
                  <a:pt x="34295" y="327583"/>
                  <a:pt x="34295" y="308652"/>
                </a:cubicBezTo>
                <a:lnTo>
                  <a:pt x="34295" y="244350"/>
                </a:lnTo>
                <a:cubicBezTo>
                  <a:pt x="34295" y="237247"/>
                  <a:pt x="40053" y="231489"/>
                  <a:pt x="47155" y="231489"/>
                </a:cubicBezTo>
                <a:cubicBezTo>
                  <a:pt x="54258" y="231489"/>
                  <a:pt x="60016" y="237247"/>
                  <a:pt x="60016" y="244350"/>
                </a:cubicBezTo>
                <a:lnTo>
                  <a:pt x="60016" y="308652"/>
                </a:lnTo>
                <a:cubicBezTo>
                  <a:pt x="60016" y="313368"/>
                  <a:pt x="63857" y="317226"/>
                  <a:pt x="68589" y="317226"/>
                </a:cubicBezTo>
                <a:lnTo>
                  <a:pt x="274357" y="317226"/>
                </a:lnTo>
                <a:close/>
                <a:moveTo>
                  <a:pt x="263692" y="111458"/>
                </a:moveTo>
                <a:lnTo>
                  <a:pt x="197194" y="44943"/>
                </a:lnTo>
                <a:lnTo>
                  <a:pt x="197194" y="102884"/>
                </a:lnTo>
                <a:cubicBezTo>
                  <a:pt x="197194" y="107600"/>
                  <a:pt x="201035" y="111458"/>
                  <a:pt x="205768" y="111458"/>
                </a:cubicBezTo>
                <a:lnTo>
                  <a:pt x="263692" y="111458"/>
                </a:lnTo>
                <a:close/>
                <a:moveTo>
                  <a:pt x="12861" y="188621"/>
                </a:moveTo>
                <a:lnTo>
                  <a:pt x="55816" y="188621"/>
                </a:lnTo>
                <a:lnTo>
                  <a:pt x="82509" y="127729"/>
                </a:lnTo>
                <a:cubicBezTo>
                  <a:pt x="86773" y="118001"/>
                  <a:pt x="100063" y="117507"/>
                  <a:pt x="105265" y="126170"/>
                </a:cubicBezTo>
                <a:lnTo>
                  <a:pt x="105363" y="126333"/>
                </a:lnTo>
                <a:lnTo>
                  <a:pt x="106226" y="128111"/>
                </a:lnTo>
                <a:lnTo>
                  <a:pt x="147606" y="231450"/>
                </a:lnTo>
                <a:lnTo>
                  <a:pt x="172070" y="195444"/>
                </a:lnTo>
                <a:cubicBezTo>
                  <a:pt x="173980" y="191848"/>
                  <a:pt x="177463" y="189399"/>
                  <a:pt x="181422" y="188777"/>
                </a:cubicBezTo>
                <a:lnTo>
                  <a:pt x="181606" y="188748"/>
                </a:lnTo>
                <a:lnTo>
                  <a:pt x="183427" y="188619"/>
                </a:lnTo>
                <a:lnTo>
                  <a:pt x="217720" y="188619"/>
                </a:lnTo>
                <a:cubicBezTo>
                  <a:pt x="224822" y="188619"/>
                  <a:pt x="230580" y="194377"/>
                  <a:pt x="230580" y="201479"/>
                </a:cubicBezTo>
                <a:cubicBezTo>
                  <a:pt x="230580" y="207920"/>
                  <a:pt x="225844" y="213260"/>
                  <a:pt x="219659" y="214196"/>
                </a:cubicBezTo>
                <a:lnTo>
                  <a:pt x="219482" y="214222"/>
                </a:lnTo>
                <a:lnTo>
                  <a:pt x="217720" y="214340"/>
                </a:lnTo>
                <a:lnTo>
                  <a:pt x="191069" y="214340"/>
                </a:lnTo>
                <a:lnTo>
                  <a:pt x="157140" y="267390"/>
                </a:lnTo>
                <a:cubicBezTo>
                  <a:pt x="152421" y="276415"/>
                  <a:pt x="139749" y="276484"/>
                  <a:pt x="134747" y="268088"/>
                </a:cubicBezTo>
                <a:lnTo>
                  <a:pt x="134651" y="267929"/>
                </a:lnTo>
                <a:lnTo>
                  <a:pt x="133814" y="266195"/>
                </a:lnTo>
                <a:lnTo>
                  <a:pt x="93751" y="166147"/>
                </a:lnTo>
                <a:lnTo>
                  <a:pt x="75999" y="206644"/>
                </a:lnTo>
                <a:cubicBezTo>
                  <a:pt x="74345" y="210418"/>
                  <a:pt x="71015" y="213114"/>
                  <a:pt x="67108" y="214014"/>
                </a:cubicBezTo>
                <a:cubicBezTo>
                  <a:pt x="66847" y="214074"/>
                  <a:pt x="66584" y="214126"/>
                  <a:pt x="66319" y="214170"/>
                </a:cubicBezTo>
                <a:lnTo>
                  <a:pt x="66128" y="214201"/>
                </a:lnTo>
                <a:lnTo>
                  <a:pt x="64220" y="214342"/>
                </a:lnTo>
                <a:lnTo>
                  <a:pt x="12861" y="214342"/>
                </a:lnTo>
                <a:cubicBezTo>
                  <a:pt x="5758" y="214342"/>
                  <a:pt x="0" y="208584"/>
                  <a:pt x="0" y="201481"/>
                </a:cubicBezTo>
                <a:cubicBezTo>
                  <a:pt x="0" y="195041"/>
                  <a:pt x="4736" y="189701"/>
                  <a:pt x="10921" y="188766"/>
                </a:cubicBezTo>
                <a:lnTo>
                  <a:pt x="11097" y="188739"/>
                </a:lnTo>
                <a:lnTo>
                  <a:pt x="12861" y="188621"/>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22833726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FBBFB-8D2C-383D-B1D2-B7ADA91DEBA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EE52935-25E2-6EFC-1B38-6A0081233AC2}"/>
              </a:ext>
            </a:extLst>
          </p:cNvPr>
          <p:cNvSpPr>
            <a:spLocks noGrp="1"/>
          </p:cNvSpPr>
          <p:nvPr>
            <p:ph type="title"/>
          </p:nvPr>
        </p:nvSpPr>
        <p:spPr>
          <a:xfrm>
            <a:off x="585216" y="457200"/>
            <a:ext cx="10515600" cy="553998"/>
          </a:xfrm>
        </p:spPr>
        <p:txBody>
          <a:bodyPr/>
          <a:lstStyle/>
          <a:p>
            <a:r>
              <a:rPr lang="en-US" sz="3600" noProof="0" dirty="0">
                <a:latin typeface="Segoe UI Semibold" panose="020B0702040204020203" pitchFamily="34" charset="0"/>
                <a:cs typeface="Segoe UI Semibold" panose="020B0702040204020203" pitchFamily="34" charset="0"/>
              </a:rPr>
              <a:t>KPI – </a:t>
            </a:r>
            <a:r>
              <a:rPr lang="en-US" sz="3600" noProof="0" dirty="0">
                <a:gradFill>
                  <a:gsLst>
                    <a:gs pos="38000">
                      <a:srgbClr val="0078D4"/>
                    </a:gs>
                    <a:gs pos="0">
                      <a:srgbClr val="C03BC4"/>
                    </a:gs>
                  </a:gsLst>
                  <a:path path="circle">
                    <a:fillToRect l="100000" t="100000"/>
                  </a:path>
                </a:gradFill>
                <a:latin typeface="Segoe UI Semibold" panose="020B0702040204020203" pitchFamily="34" charset="0"/>
                <a:cs typeface="Segoe UI Semibold" panose="020B0702040204020203" pitchFamily="34" charset="0"/>
              </a:rPr>
              <a:t>Employee turnover</a:t>
            </a:r>
          </a:p>
        </p:txBody>
      </p:sp>
      <p:sp>
        <p:nvSpPr>
          <p:cNvPr id="28" name="Rectangle: Rounded Corners 81">
            <a:extLst>
              <a:ext uri="{FF2B5EF4-FFF2-40B4-BE49-F238E27FC236}">
                <a16:creationId xmlns:a16="http://schemas.microsoft.com/office/drawing/2014/main" id="{6DBC7DB4-4D17-7ACF-CC05-F2B893BBD09F}"/>
              </a:ext>
              <a:ext uri="{C183D7F6-B498-43B3-948B-1728B52AA6E4}">
                <adec:decorative xmlns:adec="http://schemas.microsoft.com/office/drawing/2017/decorative" val="1"/>
              </a:ext>
            </a:extLst>
          </p:cNvPr>
          <p:cNvSpPr>
            <a:spLocks/>
          </p:cNvSpPr>
          <p:nvPr/>
        </p:nvSpPr>
        <p:spPr bwMode="auto">
          <a:xfrm>
            <a:off x="571500" y="1187448"/>
            <a:ext cx="11017250" cy="5161779"/>
          </a:xfrm>
          <a:prstGeom prst="roundRect">
            <a:avLst>
              <a:gd name="adj" fmla="val 3245"/>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29" name="Rounded Rectangle 53">
            <a:extLst>
              <a:ext uri="{FF2B5EF4-FFF2-40B4-BE49-F238E27FC236}">
                <a16:creationId xmlns:a16="http://schemas.microsoft.com/office/drawing/2014/main" id="{9A7F1B0A-2548-363B-CB64-28CE74CCE6BF}"/>
              </a:ext>
            </a:extLst>
          </p:cNvPr>
          <p:cNvSpPr>
            <a:spLocks/>
          </p:cNvSpPr>
          <p:nvPr/>
        </p:nvSpPr>
        <p:spPr bwMode="auto">
          <a:xfrm>
            <a:off x="678814" y="4193804"/>
            <a:ext cx="10834371" cy="2195972"/>
          </a:xfrm>
          <a:prstGeom prst="roundRect">
            <a:avLst>
              <a:gd name="adj" fmla="val 4803"/>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defTabSz="932472" fontAlgn="base">
              <a:spcBef>
                <a:spcPct val="0"/>
              </a:spcBef>
              <a:spcAft>
                <a:spcPct val="0"/>
              </a:spcAft>
              <a:defRPr/>
            </a:pPr>
            <a:r>
              <a:rPr lang="en-US" sz="1400" noProof="0" dirty="0">
                <a:ln w="3175">
                  <a:noFill/>
                </a:ln>
                <a:gradFill flip="none" rotWithShape="1">
                  <a:gsLst>
                    <a:gs pos="51000">
                      <a:srgbClr val="0078D4"/>
                    </a:gs>
                    <a:gs pos="0">
                      <a:srgbClr val="C03BC4"/>
                    </a:gs>
                  </a:gsLst>
                  <a:lin ang="13500000" scaled="1"/>
                  <a:tileRect/>
                </a:gradFill>
                <a:latin typeface="+mj-lt"/>
                <a:cs typeface="Segoe UI" pitchFamily="34" charset="0"/>
              </a:rPr>
              <a:t>How AI can help reduce employee turnover</a:t>
            </a:r>
          </a:p>
        </p:txBody>
      </p:sp>
      <p:sp>
        <p:nvSpPr>
          <p:cNvPr id="30" name="Rectangle: Rounded Corners 29">
            <a:extLst>
              <a:ext uri="{FF2B5EF4-FFF2-40B4-BE49-F238E27FC236}">
                <a16:creationId xmlns:a16="http://schemas.microsoft.com/office/drawing/2014/main" id="{402DF6FE-A50A-6C5A-DBCD-F5195C0724F3}"/>
              </a:ext>
            </a:extLst>
          </p:cNvPr>
          <p:cNvSpPr>
            <a:spLocks/>
          </p:cNvSpPr>
          <p:nvPr/>
        </p:nvSpPr>
        <p:spPr bwMode="auto">
          <a:xfrm>
            <a:off x="763522" y="4526249"/>
            <a:ext cx="3366877" cy="427343"/>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b="1" noProof="0" dirty="0">
                <a:gradFill flip="none" rotWithShape="1">
                  <a:gsLst>
                    <a:gs pos="51000">
                      <a:srgbClr val="0078D4"/>
                    </a:gs>
                    <a:gs pos="0">
                      <a:srgbClr val="C03BC4"/>
                    </a:gs>
                  </a:gsLst>
                  <a:lin ang="13500000" scaled="1"/>
                  <a:tileRect/>
                </a:gradFill>
                <a:latin typeface="+mj-lt"/>
                <a:cs typeface="Segoe UI Semilight"/>
              </a:rPr>
              <a:t>Improve quality of internal materials </a:t>
            </a:r>
            <a:br>
              <a:rPr lang="en-US" sz="1100" b="1" noProof="0" dirty="0">
                <a:gradFill flip="none" rotWithShape="1">
                  <a:gsLst>
                    <a:gs pos="51000">
                      <a:srgbClr val="0078D4"/>
                    </a:gs>
                    <a:gs pos="0">
                      <a:srgbClr val="C03BC4"/>
                    </a:gs>
                  </a:gsLst>
                  <a:lin ang="13500000" scaled="1"/>
                  <a:tileRect/>
                </a:gradFill>
                <a:latin typeface="+mj-lt"/>
                <a:cs typeface="Segoe UI Semilight"/>
              </a:rPr>
            </a:br>
            <a:r>
              <a:rPr lang="en-US" sz="1100" b="1" noProof="0" dirty="0">
                <a:gradFill flip="none" rotWithShape="1">
                  <a:gsLst>
                    <a:gs pos="51000">
                      <a:srgbClr val="0078D4"/>
                    </a:gs>
                    <a:gs pos="0">
                      <a:srgbClr val="C03BC4"/>
                    </a:gs>
                  </a:gsLst>
                  <a:lin ang="13500000" scaled="1"/>
                  <a:tileRect/>
                </a:gradFill>
                <a:latin typeface="+mj-lt"/>
                <a:cs typeface="Segoe UI Semilight"/>
              </a:rPr>
              <a:t>and processes</a:t>
            </a:r>
          </a:p>
        </p:txBody>
      </p:sp>
      <p:sp>
        <p:nvSpPr>
          <p:cNvPr id="31" name="Rectangle: Rounded Corners 30">
            <a:extLst>
              <a:ext uri="{FF2B5EF4-FFF2-40B4-BE49-F238E27FC236}">
                <a16:creationId xmlns:a16="http://schemas.microsoft.com/office/drawing/2014/main" id="{163788AD-49D3-B33C-6ED6-0D8B131BAF1F}"/>
              </a:ext>
            </a:extLst>
          </p:cNvPr>
          <p:cNvSpPr>
            <a:spLocks/>
          </p:cNvSpPr>
          <p:nvPr/>
        </p:nvSpPr>
        <p:spPr bwMode="auto">
          <a:xfrm>
            <a:off x="4395575" y="4526249"/>
            <a:ext cx="3366877" cy="427343"/>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b="1" noProof="0" dirty="0">
                <a:gradFill flip="none" rotWithShape="1">
                  <a:gsLst>
                    <a:gs pos="51000">
                      <a:srgbClr val="0078D4"/>
                    </a:gs>
                    <a:gs pos="0">
                      <a:srgbClr val="C03BC4"/>
                    </a:gs>
                  </a:gsLst>
                  <a:lin ang="13500000" scaled="1"/>
                  <a:tileRect/>
                </a:gradFill>
                <a:latin typeface="+mj-lt"/>
                <a:cs typeface="Segoe UI Semilight"/>
              </a:rPr>
              <a:t>Improve employee collaboration​</a:t>
            </a:r>
          </a:p>
        </p:txBody>
      </p:sp>
      <p:pic>
        <p:nvPicPr>
          <p:cNvPr id="32" name="Picture 31" descr="Photo of sales meeting">
            <a:extLst>
              <a:ext uri="{FF2B5EF4-FFF2-40B4-BE49-F238E27FC236}">
                <a16:creationId xmlns:a16="http://schemas.microsoft.com/office/drawing/2014/main" id="{AB5BE9AF-0AC6-BFEB-7E7A-4FD9911CD2D0}"/>
              </a:ext>
            </a:extLst>
          </p:cNvPr>
          <p:cNvPicPr>
            <a:picLocks/>
          </p:cNvPicPr>
          <p:nvPr/>
        </p:nvPicPr>
        <p:blipFill rotWithShape="1">
          <a:blip r:embed="rId2" cstate="screen">
            <a:extLst>
              <a:ext uri="{28A0092B-C50C-407E-A947-70E740481C1C}">
                <a14:useLocalDpi xmlns:a14="http://schemas.microsoft.com/office/drawing/2010/main"/>
              </a:ext>
            </a:extLst>
          </a:blip>
          <a:srcRect l="19173" r="10691"/>
          <a:stretch/>
        </p:blipFill>
        <p:spPr>
          <a:xfrm>
            <a:off x="662939" y="1278888"/>
            <a:ext cx="5670614" cy="1908701"/>
          </a:xfrm>
          <a:prstGeom prst="roundRect">
            <a:avLst>
              <a:gd name="adj" fmla="val 5305"/>
            </a:avLst>
          </a:prstGeom>
          <a:solidFill>
            <a:schemeClr val="bg1">
              <a:alpha val="70000"/>
            </a:schemeClr>
          </a:solidFill>
          <a:ln w="6350">
            <a:solidFill>
              <a:schemeClr val="bg1">
                <a:lumMod val="95000"/>
              </a:schemeClr>
            </a:solidFill>
          </a:ln>
          <a:effectLst/>
        </p:spPr>
      </p:pic>
      <p:sp>
        <p:nvSpPr>
          <p:cNvPr id="33" name="Text Placeholder 33">
            <a:extLst>
              <a:ext uri="{FF2B5EF4-FFF2-40B4-BE49-F238E27FC236}">
                <a16:creationId xmlns:a16="http://schemas.microsoft.com/office/drawing/2014/main" id="{2DB8F1FE-C368-B7AF-CDD0-7E4214CDA435}"/>
              </a:ext>
            </a:extLst>
          </p:cNvPr>
          <p:cNvSpPr txBox="1">
            <a:spLocks/>
          </p:cNvSpPr>
          <p:nvPr/>
        </p:nvSpPr>
        <p:spPr>
          <a:xfrm>
            <a:off x="763523" y="3274895"/>
            <a:ext cx="5469448" cy="553998"/>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effectLst/>
                <a:uLnTx/>
                <a:uFillTx/>
                <a:ea typeface="+mn-ea"/>
                <a:cs typeface="Segoe UI" panose="020B0502040204020203" pitchFamily="34" charset="0"/>
              </a:rPr>
              <a:t>Retain critical plant and headquarters staff by improving the work/life balance of all workers by simplifying overhead tasks. Improve skilling to provide more growth opportunities and increase internal hiring.​</a:t>
            </a:r>
          </a:p>
        </p:txBody>
      </p:sp>
      <p:sp>
        <p:nvSpPr>
          <p:cNvPr id="34" name="TextBox 33">
            <a:extLst>
              <a:ext uri="{FF2B5EF4-FFF2-40B4-BE49-F238E27FC236}">
                <a16:creationId xmlns:a16="http://schemas.microsoft.com/office/drawing/2014/main" id="{0BE87FEB-5F4E-3360-F56A-6FD0BFA9054A}"/>
              </a:ext>
            </a:extLst>
          </p:cNvPr>
          <p:cNvSpPr txBox="1"/>
          <p:nvPr/>
        </p:nvSpPr>
        <p:spPr>
          <a:xfrm>
            <a:off x="763523" y="5007575"/>
            <a:ext cx="3366877" cy="800219"/>
          </a:xfrm>
          <a:prstGeom prst="rect">
            <a:avLst/>
          </a:prstGeom>
          <a:noFill/>
        </p:spPr>
        <p:txBody>
          <a:bodyPr wrap="square" lIns="0" tIns="0" rIns="0" bIns="0">
            <a:spAutoFit/>
          </a:bodyPr>
          <a:lstStyle/>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effectLst/>
                <a:uLnTx/>
                <a:uFillTx/>
                <a:ea typeface="+mn-ea"/>
                <a:cs typeface="Segoe UI" panose="020B0502040204020203" pitchFamily="34" charset="0"/>
              </a:rPr>
              <a:t>Improve job descriptions for further role clarity</a:t>
            </a:r>
          </a:p>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effectLst/>
                <a:uLnTx/>
                <a:uFillTx/>
                <a:ea typeface="+mn-ea"/>
                <a:cs typeface="Segoe UI" panose="020B0502040204020203" pitchFamily="34" charset="0"/>
              </a:rPr>
              <a:t>Improve company meetings with summarization </a:t>
            </a:r>
            <a:br>
              <a:rPr kumimoji="0" lang="en-US" sz="1050" b="0" i="0" u="none" strike="noStrike" kern="1200" cap="none" spc="0" normalizeH="0" baseline="0" noProof="0">
                <a:ln>
                  <a:noFill/>
                </a:ln>
                <a:effectLst/>
                <a:uLnTx/>
                <a:uFillTx/>
                <a:ea typeface="+mn-ea"/>
                <a:cs typeface="Segoe UI" panose="020B0502040204020203" pitchFamily="34" charset="0"/>
              </a:rPr>
            </a:br>
            <a:r>
              <a:rPr kumimoji="0" lang="en-US" sz="1050" b="0" i="0" u="none" strike="noStrike" kern="1200" cap="none" spc="0" normalizeH="0" baseline="0" noProof="0">
                <a:ln>
                  <a:noFill/>
                </a:ln>
                <a:effectLst/>
                <a:uLnTx/>
                <a:uFillTx/>
                <a:ea typeface="+mn-ea"/>
                <a:cs typeface="Segoe UI" panose="020B0502040204020203" pitchFamily="34" charset="0"/>
              </a:rPr>
              <a:t>and recap</a:t>
            </a:r>
          </a:p>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effectLst/>
                <a:uLnTx/>
                <a:uFillTx/>
                <a:ea typeface="+mn-ea"/>
                <a:cs typeface="Segoe UI" panose="020B0502040204020203" pitchFamily="34" charset="0"/>
              </a:rPr>
              <a:t>Completely focus during the meeting</a:t>
            </a:r>
          </a:p>
        </p:txBody>
      </p:sp>
      <p:sp>
        <p:nvSpPr>
          <p:cNvPr id="35" name="TextBox 34">
            <a:extLst>
              <a:ext uri="{FF2B5EF4-FFF2-40B4-BE49-F238E27FC236}">
                <a16:creationId xmlns:a16="http://schemas.microsoft.com/office/drawing/2014/main" id="{D575EAF2-1391-71F0-976D-D465AA0608C2}"/>
              </a:ext>
            </a:extLst>
          </p:cNvPr>
          <p:cNvSpPr txBox="1"/>
          <p:nvPr/>
        </p:nvSpPr>
        <p:spPr>
          <a:xfrm>
            <a:off x="4395575" y="5007575"/>
            <a:ext cx="3366877" cy="400110"/>
          </a:xfrm>
          <a:prstGeom prst="rect">
            <a:avLst/>
          </a:prstGeom>
          <a:noFill/>
        </p:spPr>
        <p:txBody>
          <a:bodyPr wrap="square" lIns="0" tIns="0" rIns="0" bIns="0">
            <a:spAutoFit/>
          </a:bodyPr>
          <a:lstStyle/>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effectLst/>
                <a:uLnTx/>
                <a:uFillTx/>
                <a:ea typeface="+mn-ea"/>
                <a:cs typeface="Segoe UI" panose="020B0502040204020203" pitchFamily="34" charset="0"/>
              </a:rPr>
              <a:t>Use Copilot in Loop to drive internal collaboration</a:t>
            </a:r>
          </a:p>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effectLst/>
                <a:uLnTx/>
                <a:uFillTx/>
                <a:ea typeface="+mn-ea"/>
                <a:cs typeface="Segoe UI" panose="020B0502040204020203" pitchFamily="34" charset="0"/>
              </a:rPr>
              <a:t>Use Copilot to surface ice breakers</a:t>
            </a:r>
          </a:p>
        </p:txBody>
      </p:sp>
      <p:sp>
        <p:nvSpPr>
          <p:cNvPr id="37" name="Rounded Rectangle 53">
            <a:extLst>
              <a:ext uri="{FF2B5EF4-FFF2-40B4-BE49-F238E27FC236}">
                <a16:creationId xmlns:a16="http://schemas.microsoft.com/office/drawing/2014/main" id="{2D82DB76-9E73-A5E5-22B6-F798C474304E}"/>
              </a:ext>
            </a:extLst>
          </p:cNvPr>
          <p:cNvSpPr>
            <a:spLocks/>
          </p:cNvSpPr>
          <p:nvPr/>
        </p:nvSpPr>
        <p:spPr bwMode="auto">
          <a:xfrm>
            <a:off x="6424994" y="1278889"/>
            <a:ext cx="5072316" cy="2691486"/>
          </a:xfrm>
          <a:prstGeom prst="roundRect">
            <a:avLst>
              <a:gd name="adj" fmla="val 3444"/>
            </a:avLst>
          </a:prstGeom>
          <a:solidFill>
            <a:schemeClr val="bg1"/>
          </a:solidFill>
          <a:ln>
            <a:solidFill>
              <a:schemeClr val="bg2"/>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defRPr/>
            </a:pPr>
            <a:endParaRPr kumimoji="0" lang="en-US" sz="1600" b="0" i="0" u="none" strike="noStrike" kern="1200" cap="none" spc="0" normalizeH="0" baseline="0" noProof="0">
              <a:ln>
                <a:noFill/>
              </a:ln>
              <a:gradFill flip="none" rotWithShape="1">
                <a:gsLst>
                  <a:gs pos="37000">
                    <a:srgbClr val="0078D4"/>
                  </a:gs>
                  <a:gs pos="100000">
                    <a:srgbClr val="C03BC4"/>
                  </a:gs>
                </a:gsLst>
                <a:path path="circle">
                  <a:fillToRect r="100000" b="100000"/>
                </a:path>
                <a:tileRect l="-100000" t="-100000"/>
              </a:gradFill>
              <a:effectLst/>
              <a:uLnTx/>
              <a:uFillTx/>
              <a:latin typeface="+mj-lt"/>
              <a:ea typeface="+mn-ea"/>
              <a:cs typeface="+mn-cs"/>
            </a:endParaRPr>
          </a:p>
        </p:txBody>
      </p:sp>
      <p:sp>
        <p:nvSpPr>
          <p:cNvPr id="38" name="Rectangle: Rounded Corners 37">
            <a:extLst>
              <a:ext uri="{FF2B5EF4-FFF2-40B4-BE49-F238E27FC236}">
                <a16:creationId xmlns:a16="http://schemas.microsoft.com/office/drawing/2014/main" id="{D65A789A-BD46-A4DF-B408-69D95011A1AB}"/>
              </a:ext>
            </a:extLst>
          </p:cNvPr>
          <p:cNvSpPr>
            <a:spLocks/>
          </p:cNvSpPr>
          <p:nvPr/>
        </p:nvSpPr>
        <p:spPr bwMode="auto">
          <a:xfrm>
            <a:off x="6527800" y="1370328"/>
            <a:ext cx="4866704" cy="401322"/>
          </a:xfrm>
          <a:prstGeom prst="roundRect">
            <a:avLst>
              <a:gd name="adj" fmla="val 2072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noProof="0" dirty="0">
                <a:gradFill flip="none" rotWithShape="1">
                  <a:gsLst>
                    <a:gs pos="0">
                      <a:srgbClr val="C03BC4"/>
                    </a:gs>
                    <a:gs pos="56000">
                      <a:srgbClr val="0078D4"/>
                    </a:gs>
                  </a:gsLst>
                  <a:lin ang="13500000" scaled="1"/>
                  <a:tileRect/>
                </a:gradFill>
                <a:latin typeface="+mj-lt"/>
                <a:cs typeface="Segoe UI Semilight"/>
              </a:rPr>
              <a:t>Value Calculation</a:t>
            </a:r>
          </a:p>
        </p:txBody>
      </p:sp>
      <p:sp>
        <p:nvSpPr>
          <p:cNvPr id="39" name="TextBox 38">
            <a:extLst>
              <a:ext uri="{FF2B5EF4-FFF2-40B4-BE49-F238E27FC236}">
                <a16:creationId xmlns:a16="http://schemas.microsoft.com/office/drawing/2014/main" id="{4002E12E-907A-4103-A84C-945788FCD036}"/>
              </a:ext>
            </a:extLst>
          </p:cNvPr>
          <p:cNvSpPr txBox="1">
            <a:spLocks/>
          </p:cNvSpPr>
          <p:nvPr/>
        </p:nvSpPr>
        <p:spPr>
          <a:xfrm>
            <a:off x="6529164" y="1743672"/>
            <a:ext cx="4865340" cy="2508379"/>
          </a:xfrm>
          <a:prstGeom prst="rect">
            <a:avLst/>
          </a:prstGeom>
          <a:noFill/>
        </p:spPr>
        <p:txBody>
          <a:bodyPr wrap="square" lIns="0" tIns="0" rIns="0" bIns="0">
            <a:spAutoFit/>
          </a:bodyPr>
          <a:lstStyle/>
          <a:p>
            <a:pPr marL="171450" indent="-171450" algn="l">
              <a:spcAft>
                <a:spcPts val="600"/>
              </a:spcAft>
              <a:buFont typeface="Arial" panose="020B0604020202020204" pitchFamily="34" charset="0"/>
              <a:buChar char="•"/>
            </a:pPr>
            <a:r>
              <a:rPr lang="en-US" sz="1100" b="1" i="0" u="none" strike="noStrike" noProof="0" dirty="0">
                <a:effectLst/>
              </a:rPr>
              <a:t>Determine the change in employee turnover</a:t>
            </a:r>
            <a:r>
              <a:rPr lang="en-US" sz="1100" i="0" u="none" strike="noStrike" noProof="0" dirty="0">
                <a:effectLst/>
              </a:rPr>
              <a:t>: Compare the turnover rate of employees with the AI solution with a group that does not have it (or with a historical number)</a:t>
            </a:r>
          </a:p>
          <a:p>
            <a:pPr marL="171450" indent="-171450" algn="l">
              <a:spcAft>
                <a:spcPts val="600"/>
              </a:spcAft>
              <a:buFont typeface="Arial" panose="020B0604020202020204" pitchFamily="34" charset="0"/>
              <a:buChar char="•"/>
            </a:pPr>
            <a:r>
              <a:rPr lang="en-US" sz="1100" b="1" i="0" u="none" strike="noStrike" noProof="0" dirty="0">
                <a:effectLst/>
              </a:rPr>
              <a:t>Calculate the cost of replacing an employee</a:t>
            </a:r>
            <a:r>
              <a:rPr lang="en-US" sz="1100" i="0" u="none" strike="noStrike" noProof="0" dirty="0">
                <a:effectLst/>
              </a:rPr>
              <a:t>: This is often a percentage of wages.</a:t>
            </a:r>
          </a:p>
          <a:p>
            <a:pPr marL="171450" indent="-171450" algn="l">
              <a:spcAft>
                <a:spcPts val="600"/>
              </a:spcAft>
              <a:buFont typeface="Arial" panose="020B0604020202020204" pitchFamily="34" charset="0"/>
              <a:buChar char="•"/>
            </a:pPr>
            <a:r>
              <a:rPr lang="en-US" sz="1100" b="1" noProof="0" dirty="0"/>
              <a:t>Calculate the total savings</a:t>
            </a:r>
            <a:r>
              <a:rPr lang="en-US" sz="1100" noProof="0" dirty="0"/>
              <a:t>: </a:t>
            </a:r>
            <a:r>
              <a:rPr lang="en-US" sz="1100" i="0" u="none" strike="noStrike" noProof="0" dirty="0">
                <a:effectLst/>
              </a:rPr>
              <a:t>Multiply the change in employee turnover by the cost of hiring and by the number of employees using the solution.</a:t>
            </a:r>
          </a:p>
          <a:p>
            <a:pPr algn="l">
              <a:spcAft>
                <a:spcPts val="600"/>
              </a:spcAft>
            </a:pPr>
            <a:r>
              <a:rPr lang="en-US" sz="1100" b="1" noProof="0" dirty="0"/>
              <a:t>Example</a:t>
            </a:r>
          </a:p>
          <a:p>
            <a:pPr algn="l">
              <a:spcAft>
                <a:spcPts val="600"/>
              </a:spcAft>
            </a:pPr>
            <a:r>
              <a:rPr lang="en-US" sz="1100" i="0" u="none" strike="noStrike" noProof="0" dirty="0">
                <a:effectLst/>
              </a:rPr>
              <a:t>The AI solution is used by 100 people who make $100k per year and the cost of replacing one of these employees is 6 months salary. Prior to deployment an average of 6 employees left per year. After deployment only 3 employees leave per year. So the saving is 3% change in turnover * 100 people * $50k to hire = $150,000.</a:t>
            </a:r>
          </a:p>
        </p:txBody>
      </p:sp>
      <p:sp>
        <p:nvSpPr>
          <p:cNvPr id="40" name="Graphic 40">
            <a:extLst>
              <a:ext uri="{FF2B5EF4-FFF2-40B4-BE49-F238E27FC236}">
                <a16:creationId xmlns:a16="http://schemas.microsoft.com/office/drawing/2014/main" id="{F8EBDF9B-E222-7319-1D61-CF6253DE6D5A}"/>
              </a:ext>
            </a:extLst>
          </p:cNvPr>
          <p:cNvSpPr/>
          <p:nvPr/>
        </p:nvSpPr>
        <p:spPr>
          <a:xfrm>
            <a:off x="6610350" y="1476092"/>
            <a:ext cx="210860" cy="189794"/>
          </a:xfrm>
          <a:custGeom>
            <a:avLst/>
            <a:gdLst>
              <a:gd name="connsiteX0" fmla="*/ 152390 w 190480"/>
              <a:gd name="connsiteY0" fmla="*/ 0 h 171450"/>
              <a:gd name="connsiteX1" fmla="*/ 158153 w 190480"/>
              <a:gd name="connsiteY1" fmla="*/ 2915 h 171450"/>
              <a:gd name="connsiteX2" fmla="*/ 158677 w 190480"/>
              <a:gd name="connsiteY2" fmla="*/ 3743 h 171450"/>
              <a:gd name="connsiteX3" fmla="*/ 189757 w 190480"/>
              <a:gd name="connsiteY3" fmla="*/ 61160 h 171450"/>
              <a:gd name="connsiteX4" fmla="*/ 190119 w 190480"/>
              <a:gd name="connsiteY4" fmla="*/ 62046 h 171450"/>
              <a:gd name="connsiteX5" fmla="*/ 190233 w 190480"/>
              <a:gd name="connsiteY5" fmla="*/ 62427 h 171450"/>
              <a:gd name="connsiteX6" fmla="*/ 190424 w 190480"/>
              <a:gd name="connsiteY6" fmla="*/ 63398 h 171450"/>
              <a:gd name="connsiteX7" fmla="*/ 190481 w 190480"/>
              <a:gd name="connsiteY7" fmla="*/ 64294 h 171450"/>
              <a:gd name="connsiteX8" fmla="*/ 190224 w 190480"/>
              <a:gd name="connsiteY8" fmla="*/ 66199 h 171450"/>
              <a:gd name="connsiteX9" fmla="*/ 189776 w 190480"/>
              <a:gd name="connsiteY9" fmla="*/ 67389 h 171450"/>
              <a:gd name="connsiteX10" fmla="*/ 189414 w 190480"/>
              <a:gd name="connsiteY10" fmla="*/ 68047 h 171450"/>
              <a:gd name="connsiteX11" fmla="*/ 188700 w 190480"/>
              <a:gd name="connsiteY11" fmla="*/ 69018 h 171450"/>
              <a:gd name="connsiteX12" fmla="*/ 189271 w 190480"/>
              <a:gd name="connsiteY12" fmla="*/ 68275 h 171450"/>
              <a:gd name="connsiteX13" fmla="*/ 189033 w 190480"/>
              <a:gd name="connsiteY13" fmla="*/ 68609 h 171450"/>
              <a:gd name="connsiteX14" fmla="*/ 100927 w 190480"/>
              <a:gd name="connsiteY14" fmla="*/ 168669 h 171450"/>
              <a:gd name="connsiteX15" fmla="*/ 98098 w 190480"/>
              <a:gd name="connsiteY15" fmla="*/ 170879 h 171450"/>
              <a:gd name="connsiteX16" fmla="*/ 97165 w 190480"/>
              <a:gd name="connsiteY16" fmla="*/ 171193 h 171450"/>
              <a:gd name="connsiteX17" fmla="*/ 96422 w 190480"/>
              <a:gd name="connsiteY17" fmla="*/ 171355 h 171450"/>
              <a:gd name="connsiteX18" fmla="*/ 95250 w 190480"/>
              <a:gd name="connsiteY18" fmla="*/ 171450 h 171450"/>
              <a:gd name="connsiteX19" fmla="*/ 94298 w 190480"/>
              <a:gd name="connsiteY19" fmla="*/ 171393 h 171450"/>
              <a:gd name="connsiteX20" fmla="*/ 93174 w 190480"/>
              <a:gd name="connsiteY20" fmla="*/ 171145 h 171450"/>
              <a:gd name="connsiteX21" fmla="*/ 91516 w 190480"/>
              <a:gd name="connsiteY21" fmla="*/ 170421 h 171450"/>
              <a:gd name="connsiteX22" fmla="*/ 91430 w 190480"/>
              <a:gd name="connsiteY22" fmla="*/ 170355 h 171450"/>
              <a:gd name="connsiteX23" fmla="*/ 90192 w 190480"/>
              <a:gd name="connsiteY23" fmla="*/ 169364 h 171450"/>
              <a:gd name="connsiteX24" fmla="*/ 1705 w 190480"/>
              <a:gd name="connsiteY24" fmla="*/ 68913 h 171450"/>
              <a:gd name="connsiteX25" fmla="*/ 1457 w 190480"/>
              <a:gd name="connsiteY25" fmla="*/ 68609 h 171450"/>
              <a:gd name="connsiteX26" fmla="*/ 1076 w 190480"/>
              <a:gd name="connsiteY26" fmla="*/ 68047 h 171450"/>
              <a:gd name="connsiteX27" fmla="*/ 67 w 190480"/>
              <a:gd name="connsiteY27" fmla="*/ 65180 h 171450"/>
              <a:gd name="connsiteX28" fmla="*/ 0 w 190480"/>
              <a:gd name="connsiteY28" fmla="*/ 64294 h 171450"/>
              <a:gd name="connsiteX29" fmla="*/ 29 w 190480"/>
              <a:gd name="connsiteY29" fmla="*/ 63665 h 171450"/>
              <a:gd name="connsiteX30" fmla="*/ 152 w 190480"/>
              <a:gd name="connsiteY30" fmla="*/ 62817 h 171450"/>
              <a:gd name="connsiteX31" fmla="*/ 381 w 190480"/>
              <a:gd name="connsiteY31" fmla="*/ 61998 h 171450"/>
              <a:gd name="connsiteX32" fmla="*/ 591 w 190480"/>
              <a:gd name="connsiteY32" fmla="*/ 61436 h 171450"/>
              <a:gd name="connsiteX33" fmla="*/ 857 w 190480"/>
              <a:gd name="connsiteY33" fmla="*/ 60893 h 171450"/>
              <a:gd name="connsiteX34" fmla="*/ 31814 w 190480"/>
              <a:gd name="connsiteY34" fmla="*/ 3743 h 171450"/>
              <a:gd name="connsiteX35" fmla="*/ 37119 w 190480"/>
              <a:gd name="connsiteY35" fmla="*/ 67 h 171450"/>
              <a:gd name="connsiteX36" fmla="*/ 38090 w 190480"/>
              <a:gd name="connsiteY36" fmla="*/ 0 h 171450"/>
              <a:gd name="connsiteX37" fmla="*/ 152390 w 190480"/>
              <a:gd name="connsiteY37" fmla="*/ 0 h 171450"/>
              <a:gd name="connsiteX38" fmla="*/ 123796 w 190480"/>
              <a:gd name="connsiteY38" fmla="*/ 71438 h 171450"/>
              <a:gd name="connsiteX39" fmla="*/ 66656 w 190480"/>
              <a:gd name="connsiteY39" fmla="*/ 71438 h 171450"/>
              <a:gd name="connsiteX40" fmla="*/ 95231 w 190480"/>
              <a:gd name="connsiteY40" fmla="*/ 144656 h 171450"/>
              <a:gd name="connsiteX41" fmla="*/ 123796 w 190480"/>
              <a:gd name="connsiteY41" fmla="*/ 71438 h 171450"/>
              <a:gd name="connsiteX42" fmla="*/ 51330 w 190480"/>
              <a:gd name="connsiteY42" fmla="*/ 71438 h 171450"/>
              <a:gd name="connsiteX43" fmla="*/ 22946 w 190480"/>
              <a:gd name="connsiteY43" fmla="*/ 71438 h 171450"/>
              <a:gd name="connsiteX44" fmla="*/ 73914 w 190480"/>
              <a:gd name="connsiteY44" fmla="*/ 129292 h 171450"/>
              <a:gd name="connsiteX45" fmla="*/ 51330 w 190480"/>
              <a:gd name="connsiteY45" fmla="*/ 71438 h 171450"/>
              <a:gd name="connsiteX46" fmla="*/ 167516 w 190480"/>
              <a:gd name="connsiteY46" fmla="*/ 71438 h 171450"/>
              <a:gd name="connsiteX47" fmla="*/ 139141 w 190480"/>
              <a:gd name="connsiteY47" fmla="*/ 71438 h 171450"/>
              <a:gd name="connsiteX48" fmla="*/ 116586 w 190480"/>
              <a:gd name="connsiteY48" fmla="*/ 129254 h 171450"/>
              <a:gd name="connsiteX49" fmla="*/ 167516 w 190480"/>
              <a:gd name="connsiteY49" fmla="*/ 71438 h 171450"/>
              <a:gd name="connsiteX50" fmla="*/ 66399 w 190480"/>
              <a:gd name="connsiteY50" fmla="*/ 14288 h 171450"/>
              <a:gd name="connsiteX51" fmla="*/ 42339 w 190480"/>
              <a:gd name="connsiteY51" fmla="*/ 14288 h 171450"/>
              <a:gd name="connsiteX52" fmla="*/ 19117 w 190480"/>
              <a:gd name="connsiteY52" fmla="*/ 57150 h 171450"/>
              <a:gd name="connsiteX53" fmla="*/ 52683 w 190480"/>
              <a:gd name="connsiteY53" fmla="*/ 57150 h 171450"/>
              <a:gd name="connsiteX54" fmla="*/ 66399 w 190480"/>
              <a:gd name="connsiteY54" fmla="*/ 14288 h 171450"/>
              <a:gd name="connsiteX55" fmla="*/ 109071 w 190480"/>
              <a:gd name="connsiteY55" fmla="*/ 14288 h 171450"/>
              <a:gd name="connsiteX56" fmla="*/ 81401 w 190480"/>
              <a:gd name="connsiteY56" fmla="*/ 14288 h 171450"/>
              <a:gd name="connsiteX57" fmla="*/ 67675 w 190480"/>
              <a:gd name="connsiteY57" fmla="*/ 57150 h 171450"/>
              <a:gd name="connsiteX58" fmla="*/ 122777 w 190480"/>
              <a:gd name="connsiteY58" fmla="*/ 57150 h 171450"/>
              <a:gd name="connsiteX59" fmla="*/ 109061 w 190480"/>
              <a:gd name="connsiteY59" fmla="*/ 14288 h 171450"/>
              <a:gd name="connsiteX60" fmla="*/ 148123 w 190480"/>
              <a:gd name="connsiteY60" fmla="*/ 14288 h 171450"/>
              <a:gd name="connsiteX61" fmla="*/ 124073 w 190480"/>
              <a:gd name="connsiteY61" fmla="*/ 14288 h 171450"/>
              <a:gd name="connsiteX62" fmla="*/ 137789 w 190480"/>
              <a:gd name="connsiteY62" fmla="*/ 57150 h 171450"/>
              <a:gd name="connsiteX63" fmla="*/ 171336 w 190480"/>
              <a:gd name="connsiteY63" fmla="*/ 57150 h 171450"/>
              <a:gd name="connsiteX64" fmla="*/ 148133 w 190480"/>
              <a:gd name="connsiteY64" fmla="*/ 14288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90480" h="171450">
                <a:moveTo>
                  <a:pt x="152390" y="0"/>
                </a:moveTo>
                <a:cubicBezTo>
                  <a:pt x="154666" y="-2"/>
                  <a:pt x="156806" y="1081"/>
                  <a:pt x="158153" y="2915"/>
                </a:cubicBezTo>
                <a:lnTo>
                  <a:pt x="158677" y="3743"/>
                </a:lnTo>
                <a:lnTo>
                  <a:pt x="189757" y="61160"/>
                </a:lnTo>
                <a:lnTo>
                  <a:pt x="190119" y="62046"/>
                </a:lnTo>
                <a:lnTo>
                  <a:pt x="190233" y="62427"/>
                </a:lnTo>
                <a:lnTo>
                  <a:pt x="190424" y="63398"/>
                </a:lnTo>
                <a:lnTo>
                  <a:pt x="190481" y="64294"/>
                </a:lnTo>
                <a:cubicBezTo>
                  <a:pt x="190482" y="64937"/>
                  <a:pt x="190395" y="65578"/>
                  <a:pt x="190224" y="66199"/>
                </a:cubicBezTo>
                <a:lnTo>
                  <a:pt x="189776" y="67389"/>
                </a:lnTo>
                <a:lnTo>
                  <a:pt x="189414" y="68047"/>
                </a:lnTo>
                <a:cubicBezTo>
                  <a:pt x="189204" y="68390"/>
                  <a:pt x="188965" y="68715"/>
                  <a:pt x="188700" y="69018"/>
                </a:cubicBezTo>
                <a:lnTo>
                  <a:pt x="189271" y="68275"/>
                </a:lnTo>
                <a:lnTo>
                  <a:pt x="189033" y="68609"/>
                </a:lnTo>
                <a:lnTo>
                  <a:pt x="100927" y="168669"/>
                </a:lnTo>
                <a:cubicBezTo>
                  <a:pt x="100195" y="169642"/>
                  <a:pt x="99219" y="170404"/>
                  <a:pt x="98098" y="170879"/>
                </a:cubicBezTo>
                <a:lnTo>
                  <a:pt x="97165" y="171193"/>
                </a:lnTo>
                <a:lnTo>
                  <a:pt x="96422" y="171355"/>
                </a:lnTo>
                <a:lnTo>
                  <a:pt x="95250" y="171450"/>
                </a:lnTo>
                <a:lnTo>
                  <a:pt x="94298" y="171393"/>
                </a:lnTo>
                <a:lnTo>
                  <a:pt x="93174" y="171145"/>
                </a:lnTo>
                <a:cubicBezTo>
                  <a:pt x="92592" y="170979"/>
                  <a:pt x="92034" y="170735"/>
                  <a:pt x="91516" y="170421"/>
                </a:cubicBezTo>
                <a:lnTo>
                  <a:pt x="91430" y="170355"/>
                </a:lnTo>
                <a:cubicBezTo>
                  <a:pt x="90978" y="170077"/>
                  <a:pt x="90563" y="169744"/>
                  <a:pt x="90192" y="169364"/>
                </a:cubicBezTo>
                <a:lnTo>
                  <a:pt x="1705" y="68913"/>
                </a:lnTo>
                <a:lnTo>
                  <a:pt x="1457" y="68609"/>
                </a:lnTo>
                <a:lnTo>
                  <a:pt x="1076" y="68047"/>
                </a:lnTo>
                <a:cubicBezTo>
                  <a:pt x="537" y="67175"/>
                  <a:pt x="192" y="66197"/>
                  <a:pt x="67" y="65180"/>
                </a:cubicBezTo>
                <a:lnTo>
                  <a:pt x="0" y="64294"/>
                </a:lnTo>
                <a:lnTo>
                  <a:pt x="29" y="63665"/>
                </a:lnTo>
                <a:lnTo>
                  <a:pt x="152" y="62817"/>
                </a:lnTo>
                <a:cubicBezTo>
                  <a:pt x="212" y="62540"/>
                  <a:pt x="288" y="62266"/>
                  <a:pt x="381" y="61998"/>
                </a:cubicBezTo>
                <a:lnTo>
                  <a:pt x="591" y="61436"/>
                </a:lnTo>
                <a:lnTo>
                  <a:pt x="857" y="60893"/>
                </a:lnTo>
                <a:lnTo>
                  <a:pt x="31814" y="3743"/>
                </a:lnTo>
                <a:cubicBezTo>
                  <a:pt x="32896" y="1743"/>
                  <a:pt x="34866" y="378"/>
                  <a:pt x="37119" y="67"/>
                </a:cubicBezTo>
                <a:lnTo>
                  <a:pt x="38090" y="0"/>
                </a:lnTo>
                <a:lnTo>
                  <a:pt x="152390" y="0"/>
                </a:lnTo>
                <a:close/>
                <a:moveTo>
                  <a:pt x="123796" y="71438"/>
                </a:moveTo>
                <a:lnTo>
                  <a:pt x="66656" y="71438"/>
                </a:lnTo>
                <a:lnTo>
                  <a:pt x="95231" y="144656"/>
                </a:lnTo>
                <a:lnTo>
                  <a:pt x="123796" y="71438"/>
                </a:lnTo>
                <a:close/>
                <a:moveTo>
                  <a:pt x="51330" y="71438"/>
                </a:moveTo>
                <a:lnTo>
                  <a:pt x="22946" y="71438"/>
                </a:lnTo>
                <a:lnTo>
                  <a:pt x="73914" y="129292"/>
                </a:lnTo>
                <a:lnTo>
                  <a:pt x="51330" y="71438"/>
                </a:lnTo>
                <a:close/>
                <a:moveTo>
                  <a:pt x="167516" y="71438"/>
                </a:moveTo>
                <a:lnTo>
                  <a:pt x="139141" y="71438"/>
                </a:lnTo>
                <a:lnTo>
                  <a:pt x="116586" y="129254"/>
                </a:lnTo>
                <a:lnTo>
                  <a:pt x="167516" y="71438"/>
                </a:lnTo>
                <a:close/>
                <a:moveTo>
                  <a:pt x="66399" y="14288"/>
                </a:moveTo>
                <a:lnTo>
                  <a:pt x="42339" y="14288"/>
                </a:lnTo>
                <a:lnTo>
                  <a:pt x="19117" y="57150"/>
                </a:lnTo>
                <a:lnTo>
                  <a:pt x="52683" y="57150"/>
                </a:lnTo>
                <a:lnTo>
                  <a:pt x="66399" y="14288"/>
                </a:lnTo>
                <a:close/>
                <a:moveTo>
                  <a:pt x="109071" y="14288"/>
                </a:moveTo>
                <a:lnTo>
                  <a:pt x="81401" y="14288"/>
                </a:lnTo>
                <a:lnTo>
                  <a:pt x="67675" y="57150"/>
                </a:lnTo>
                <a:lnTo>
                  <a:pt x="122777" y="57150"/>
                </a:lnTo>
                <a:lnTo>
                  <a:pt x="109061" y="14288"/>
                </a:lnTo>
                <a:close/>
                <a:moveTo>
                  <a:pt x="148123" y="14288"/>
                </a:moveTo>
                <a:lnTo>
                  <a:pt x="124073" y="14288"/>
                </a:lnTo>
                <a:lnTo>
                  <a:pt x="137789" y="57150"/>
                </a:lnTo>
                <a:lnTo>
                  <a:pt x="171336" y="57150"/>
                </a:lnTo>
                <a:lnTo>
                  <a:pt x="148133" y="14288"/>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600" b="1" noProof="0" dirty="0">
              <a:ln w="3175">
                <a:noFill/>
              </a:ln>
              <a:gradFill>
                <a:gsLst>
                  <a:gs pos="76437">
                    <a:srgbClr val="FFFFFF"/>
                  </a:gs>
                  <a:gs pos="55747">
                    <a:srgbClr val="FFFFFF"/>
                  </a:gs>
                </a:gsLst>
                <a:path path="circle">
                  <a:fillToRect l="100000" b="100000"/>
                </a:path>
              </a:gradFill>
              <a:latin typeface="Segoe UI Semibold"/>
              <a:cs typeface="Segoe UI" pitchFamily="34" charset="0"/>
            </a:endParaRPr>
          </a:p>
        </p:txBody>
      </p:sp>
      <p:sp>
        <p:nvSpPr>
          <p:cNvPr id="43" name="Rectangle: Rounded Corners 42">
            <a:extLst>
              <a:ext uri="{FF2B5EF4-FFF2-40B4-BE49-F238E27FC236}">
                <a16:creationId xmlns:a16="http://schemas.microsoft.com/office/drawing/2014/main" id="{782854E4-6866-94F4-0015-CEE6E59B4704}"/>
              </a:ext>
            </a:extLst>
          </p:cNvPr>
          <p:cNvSpPr>
            <a:spLocks/>
          </p:cNvSpPr>
          <p:nvPr/>
        </p:nvSpPr>
        <p:spPr bwMode="auto">
          <a:xfrm>
            <a:off x="8027628" y="4526249"/>
            <a:ext cx="3366877" cy="427343"/>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b="1" noProof="0" dirty="0">
                <a:gradFill flip="none" rotWithShape="1">
                  <a:gsLst>
                    <a:gs pos="51000">
                      <a:srgbClr val="0078D4"/>
                    </a:gs>
                    <a:gs pos="0">
                      <a:srgbClr val="C03BC4"/>
                    </a:gs>
                  </a:gsLst>
                  <a:lin ang="13500000" scaled="1"/>
                  <a:tileRect/>
                </a:gradFill>
                <a:latin typeface="+mj-lt"/>
                <a:cs typeface="Segoe UI Semilight"/>
              </a:rPr>
              <a:t>Create internal feedback loop ​</a:t>
            </a:r>
          </a:p>
        </p:txBody>
      </p:sp>
      <p:sp>
        <p:nvSpPr>
          <p:cNvPr id="62" name="TextBox 61">
            <a:extLst>
              <a:ext uri="{FF2B5EF4-FFF2-40B4-BE49-F238E27FC236}">
                <a16:creationId xmlns:a16="http://schemas.microsoft.com/office/drawing/2014/main" id="{B5FB06F0-6A03-EBAC-427B-B709DC41A02E}"/>
              </a:ext>
            </a:extLst>
          </p:cNvPr>
          <p:cNvSpPr txBox="1"/>
          <p:nvPr/>
        </p:nvSpPr>
        <p:spPr>
          <a:xfrm>
            <a:off x="8027628" y="5007575"/>
            <a:ext cx="3366877" cy="723275"/>
          </a:xfrm>
          <a:prstGeom prst="rect">
            <a:avLst/>
          </a:prstGeom>
          <a:noFill/>
        </p:spPr>
        <p:txBody>
          <a:bodyPr wrap="square" lIns="0" tIns="0" rIns="0" bIns="0">
            <a:spAutoFit/>
          </a:bodyPr>
          <a:lstStyle/>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effectLst/>
                <a:uLnTx/>
                <a:uFillTx/>
                <a:ea typeface="+mn-ea"/>
                <a:cs typeface="Segoe UI" panose="020B0502040204020203" pitchFamily="34" charset="0"/>
              </a:rPr>
              <a:t>Draft employee surveys</a:t>
            </a:r>
          </a:p>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effectLst/>
                <a:uLnTx/>
                <a:uFillTx/>
                <a:ea typeface="+mn-ea"/>
                <a:cs typeface="Segoe UI" panose="020B0502040204020203" pitchFamily="34" charset="0"/>
              </a:rPr>
              <a:t>Analyze surveys to gain valuable insights into what makes employees happy or areas that need improvement within the organization</a:t>
            </a:r>
          </a:p>
        </p:txBody>
      </p:sp>
      <p:sp>
        <p:nvSpPr>
          <p:cNvPr id="66" name="Graphic 64">
            <a:extLst>
              <a:ext uri="{FF2B5EF4-FFF2-40B4-BE49-F238E27FC236}">
                <a16:creationId xmlns:a16="http://schemas.microsoft.com/office/drawing/2014/main" id="{EF6810AD-FE51-6546-7AF2-A75B434B32CB}"/>
              </a:ext>
            </a:extLst>
          </p:cNvPr>
          <p:cNvSpPr/>
          <p:nvPr/>
        </p:nvSpPr>
        <p:spPr>
          <a:xfrm>
            <a:off x="846867" y="4641704"/>
            <a:ext cx="179220" cy="196434"/>
          </a:xfrm>
          <a:custGeom>
            <a:avLst/>
            <a:gdLst>
              <a:gd name="connsiteX0" fmla="*/ 92869 w 179220"/>
              <a:gd name="connsiteY0" fmla="*/ 0 h 196434"/>
              <a:gd name="connsiteX1" fmla="*/ 114167 w 179220"/>
              <a:gd name="connsiteY1" fmla="*/ 19050 h 196434"/>
              <a:gd name="connsiteX2" fmla="*/ 130969 w 179220"/>
              <a:gd name="connsiteY2" fmla="*/ 19050 h 196434"/>
              <a:gd name="connsiteX3" fmla="*/ 152400 w 179220"/>
              <a:gd name="connsiteY3" fmla="*/ 40481 h 196434"/>
              <a:gd name="connsiteX4" fmla="*/ 152400 w 179220"/>
              <a:gd name="connsiteY4" fmla="*/ 90468 h 196434"/>
              <a:gd name="connsiteX5" fmla="*/ 138113 w 179220"/>
              <a:gd name="connsiteY5" fmla="*/ 86449 h 196434"/>
              <a:gd name="connsiteX6" fmla="*/ 138113 w 179220"/>
              <a:gd name="connsiteY6" fmla="*/ 40481 h 196434"/>
              <a:gd name="connsiteX7" fmla="*/ 130969 w 179220"/>
              <a:gd name="connsiteY7" fmla="*/ 33338 h 196434"/>
              <a:gd name="connsiteX8" fmla="*/ 110690 w 179220"/>
              <a:gd name="connsiteY8" fmla="*/ 33338 h 196434"/>
              <a:gd name="connsiteX9" fmla="*/ 92869 w 179220"/>
              <a:gd name="connsiteY9" fmla="*/ 42863 h 196434"/>
              <a:gd name="connsiteX10" fmla="*/ 59531 w 179220"/>
              <a:gd name="connsiteY10" fmla="*/ 42863 h 196434"/>
              <a:gd name="connsiteX11" fmla="*/ 41710 w 179220"/>
              <a:gd name="connsiteY11" fmla="*/ 33338 h 196434"/>
              <a:gd name="connsiteX12" fmla="*/ 21431 w 179220"/>
              <a:gd name="connsiteY12" fmla="*/ 33338 h 196434"/>
              <a:gd name="connsiteX13" fmla="*/ 14288 w 179220"/>
              <a:gd name="connsiteY13" fmla="*/ 40481 h 196434"/>
              <a:gd name="connsiteX14" fmla="*/ 14288 w 179220"/>
              <a:gd name="connsiteY14" fmla="*/ 169069 h 196434"/>
              <a:gd name="connsiteX15" fmla="*/ 21431 w 179220"/>
              <a:gd name="connsiteY15" fmla="*/ 176213 h 196434"/>
              <a:gd name="connsiteX16" fmla="*/ 73647 w 179220"/>
              <a:gd name="connsiteY16" fmla="*/ 176213 h 196434"/>
              <a:gd name="connsiteX17" fmla="*/ 83915 w 179220"/>
              <a:gd name="connsiteY17" fmla="*/ 190500 h 196434"/>
              <a:gd name="connsiteX18" fmla="*/ 21431 w 179220"/>
              <a:gd name="connsiteY18" fmla="*/ 190500 h 196434"/>
              <a:gd name="connsiteX19" fmla="*/ 0 w 179220"/>
              <a:gd name="connsiteY19" fmla="*/ 169069 h 196434"/>
              <a:gd name="connsiteX20" fmla="*/ 0 w 179220"/>
              <a:gd name="connsiteY20" fmla="*/ 40481 h 196434"/>
              <a:gd name="connsiteX21" fmla="*/ 21431 w 179220"/>
              <a:gd name="connsiteY21" fmla="*/ 19050 h 196434"/>
              <a:gd name="connsiteX22" fmla="*/ 38233 w 179220"/>
              <a:gd name="connsiteY22" fmla="*/ 19050 h 196434"/>
              <a:gd name="connsiteX23" fmla="*/ 59531 w 179220"/>
              <a:gd name="connsiteY23" fmla="*/ 0 h 196434"/>
              <a:gd name="connsiteX24" fmla="*/ 92869 w 179220"/>
              <a:gd name="connsiteY24" fmla="*/ 0 h 196434"/>
              <a:gd name="connsiteX25" fmla="*/ 114205 w 179220"/>
              <a:gd name="connsiteY25" fmla="*/ 19355 h 196434"/>
              <a:gd name="connsiteX26" fmla="*/ 114167 w 179220"/>
              <a:gd name="connsiteY26" fmla="*/ 19050 h 196434"/>
              <a:gd name="connsiteX27" fmla="*/ 114195 w 179220"/>
              <a:gd name="connsiteY27" fmla="*/ 19355 h 196434"/>
              <a:gd name="connsiteX28" fmla="*/ 114252 w 179220"/>
              <a:gd name="connsiteY28" fmla="*/ 19964 h 196434"/>
              <a:gd name="connsiteX29" fmla="*/ 114300 w 179220"/>
              <a:gd name="connsiteY29" fmla="*/ 21431 h 196434"/>
              <a:gd name="connsiteX30" fmla="*/ 114243 w 179220"/>
              <a:gd name="connsiteY30" fmla="*/ 19850 h 196434"/>
              <a:gd name="connsiteX31" fmla="*/ 114243 w 179220"/>
              <a:gd name="connsiteY31" fmla="*/ 19964 h 196434"/>
              <a:gd name="connsiteX32" fmla="*/ 92869 w 179220"/>
              <a:gd name="connsiteY32" fmla="*/ 14288 h 196434"/>
              <a:gd name="connsiteX33" fmla="*/ 59531 w 179220"/>
              <a:gd name="connsiteY33" fmla="*/ 14288 h 196434"/>
              <a:gd name="connsiteX34" fmla="*/ 52388 w 179220"/>
              <a:gd name="connsiteY34" fmla="*/ 21431 h 196434"/>
              <a:gd name="connsiteX35" fmla="*/ 59531 w 179220"/>
              <a:gd name="connsiteY35" fmla="*/ 28575 h 196434"/>
              <a:gd name="connsiteX36" fmla="*/ 92869 w 179220"/>
              <a:gd name="connsiteY36" fmla="*/ 28575 h 196434"/>
              <a:gd name="connsiteX37" fmla="*/ 100013 w 179220"/>
              <a:gd name="connsiteY37" fmla="*/ 21431 h 196434"/>
              <a:gd name="connsiteX38" fmla="*/ 92869 w 179220"/>
              <a:gd name="connsiteY38" fmla="*/ 14288 h 196434"/>
              <a:gd name="connsiteX39" fmla="*/ 97898 w 179220"/>
              <a:gd name="connsiteY39" fmla="*/ 114071 h 196434"/>
              <a:gd name="connsiteX40" fmla="*/ 84877 w 179220"/>
              <a:gd name="connsiteY40" fmla="*/ 137657 h 196434"/>
              <a:gd name="connsiteX41" fmla="*/ 84172 w 179220"/>
              <a:gd name="connsiteY41" fmla="*/ 137846 h 196434"/>
              <a:gd name="connsiteX42" fmla="*/ 78610 w 179220"/>
              <a:gd name="connsiteY42" fmla="*/ 139217 h 196434"/>
              <a:gd name="connsiteX43" fmla="*/ 78667 w 179220"/>
              <a:gd name="connsiteY43" fmla="*/ 156429 h 196434"/>
              <a:gd name="connsiteX44" fmla="*/ 83810 w 179220"/>
              <a:gd name="connsiteY44" fmla="*/ 157667 h 196434"/>
              <a:gd name="connsiteX45" fmla="*/ 97869 w 179220"/>
              <a:gd name="connsiteY45" fmla="*/ 180648 h 196434"/>
              <a:gd name="connsiteX46" fmla="*/ 97622 w 179220"/>
              <a:gd name="connsiteY46" fmla="*/ 181575 h 196434"/>
              <a:gd name="connsiteX47" fmla="*/ 95841 w 179220"/>
              <a:gd name="connsiteY47" fmla="*/ 187595 h 196434"/>
              <a:gd name="connsiteX48" fmla="*/ 109976 w 179220"/>
              <a:gd name="connsiteY48" fmla="*/ 196377 h 196434"/>
              <a:gd name="connsiteX49" fmla="*/ 114681 w 179220"/>
              <a:gd name="connsiteY49" fmla="*/ 191424 h 196434"/>
              <a:gd name="connsiteX50" fmla="*/ 141613 w 179220"/>
              <a:gd name="connsiteY50" fmla="*/ 190752 h 196434"/>
              <a:gd name="connsiteX51" fmla="*/ 142294 w 179220"/>
              <a:gd name="connsiteY51" fmla="*/ 191433 h 196434"/>
              <a:gd name="connsiteX52" fmla="*/ 147037 w 179220"/>
              <a:gd name="connsiteY52" fmla="*/ 196434 h 196434"/>
              <a:gd name="connsiteX53" fmla="*/ 161163 w 179220"/>
              <a:gd name="connsiteY53" fmla="*/ 187738 h 196434"/>
              <a:gd name="connsiteX54" fmla="*/ 159277 w 179220"/>
              <a:gd name="connsiteY54" fmla="*/ 181204 h 196434"/>
              <a:gd name="connsiteX55" fmla="*/ 172298 w 179220"/>
              <a:gd name="connsiteY55" fmla="*/ 157618 h 196434"/>
              <a:gd name="connsiteX56" fmla="*/ 173003 w 179220"/>
              <a:gd name="connsiteY56" fmla="*/ 157429 h 196434"/>
              <a:gd name="connsiteX57" fmla="*/ 178565 w 179220"/>
              <a:gd name="connsiteY57" fmla="*/ 156058 h 196434"/>
              <a:gd name="connsiteX58" fmla="*/ 178508 w 179220"/>
              <a:gd name="connsiteY58" fmla="*/ 138836 h 196434"/>
              <a:gd name="connsiteX59" fmla="*/ 173365 w 179220"/>
              <a:gd name="connsiteY59" fmla="*/ 137598 h 196434"/>
              <a:gd name="connsiteX60" fmla="*/ 159306 w 179220"/>
              <a:gd name="connsiteY60" fmla="*/ 114617 h 196434"/>
              <a:gd name="connsiteX61" fmla="*/ 159553 w 179220"/>
              <a:gd name="connsiteY61" fmla="*/ 113690 h 196434"/>
              <a:gd name="connsiteX62" fmla="*/ 161334 w 179220"/>
              <a:gd name="connsiteY62" fmla="*/ 107690 h 196434"/>
              <a:gd name="connsiteX63" fmla="*/ 147199 w 179220"/>
              <a:gd name="connsiteY63" fmla="*/ 98908 h 196434"/>
              <a:gd name="connsiteX64" fmla="*/ 142504 w 179220"/>
              <a:gd name="connsiteY64" fmla="*/ 103842 h 196434"/>
              <a:gd name="connsiteX65" fmla="*/ 115572 w 179220"/>
              <a:gd name="connsiteY65" fmla="*/ 104532 h 196434"/>
              <a:gd name="connsiteX66" fmla="*/ 114881 w 179220"/>
              <a:gd name="connsiteY66" fmla="*/ 103842 h 196434"/>
              <a:gd name="connsiteX67" fmla="*/ 110138 w 179220"/>
              <a:gd name="connsiteY67" fmla="*/ 98841 h 196434"/>
              <a:gd name="connsiteX68" fmla="*/ 96012 w 179220"/>
              <a:gd name="connsiteY68" fmla="*/ 107528 h 196434"/>
              <a:gd name="connsiteX69" fmla="*/ 97898 w 179220"/>
              <a:gd name="connsiteY69" fmla="*/ 114071 h 196434"/>
              <a:gd name="connsiteX70" fmla="*/ 128588 w 179220"/>
              <a:gd name="connsiteY70" fmla="*/ 161925 h 196434"/>
              <a:gd name="connsiteX71" fmla="*/ 114776 w 179220"/>
              <a:gd name="connsiteY71" fmla="*/ 147638 h 196434"/>
              <a:gd name="connsiteX72" fmla="*/ 128588 w 179220"/>
              <a:gd name="connsiteY72" fmla="*/ 133350 h 196434"/>
              <a:gd name="connsiteX73" fmla="*/ 142399 w 179220"/>
              <a:gd name="connsiteY73" fmla="*/ 147638 h 196434"/>
              <a:gd name="connsiteX74" fmla="*/ 128588 w 179220"/>
              <a:gd name="connsiteY74" fmla="*/ 161925 h 196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79220" h="196434">
                <a:moveTo>
                  <a:pt x="92869" y="0"/>
                </a:moveTo>
                <a:cubicBezTo>
                  <a:pt x="103783" y="0"/>
                  <a:pt x="112954" y="8203"/>
                  <a:pt x="114167" y="19050"/>
                </a:cubicBezTo>
                <a:lnTo>
                  <a:pt x="130969" y="19050"/>
                </a:lnTo>
                <a:cubicBezTo>
                  <a:pt x="142805" y="19050"/>
                  <a:pt x="152400" y="28645"/>
                  <a:pt x="152400" y="40481"/>
                </a:cubicBezTo>
                <a:lnTo>
                  <a:pt x="152400" y="90468"/>
                </a:lnTo>
                <a:cubicBezTo>
                  <a:pt x="147818" y="88557"/>
                  <a:pt x="143020" y="87207"/>
                  <a:pt x="138113" y="86449"/>
                </a:cubicBezTo>
                <a:lnTo>
                  <a:pt x="138113" y="40481"/>
                </a:lnTo>
                <a:cubicBezTo>
                  <a:pt x="138113" y="36536"/>
                  <a:pt x="134914" y="33338"/>
                  <a:pt x="130969" y="33338"/>
                </a:cubicBezTo>
                <a:lnTo>
                  <a:pt x="110690" y="33338"/>
                </a:lnTo>
                <a:cubicBezTo>
                  <a:pt x="106842" y="39081"/>
                  <a:pt x="100298" y="42863"/>
                  <a:pt x="92869" y="42863"/>
                </a:cubicBezTo>
                <a:lnTo>
                  <a:pt x="59531" y="42863"/>
                </a:lnTo>
                <a:cubicBezTo>
                  <a:pt x="52102" y="42863"/>
                  <a:pt x="45558" y="39081"/>
                  <a:pt x="41710" y="33338"/>
                </a:cubicBezTo>
                <a:lnTo>
                  <a:pt x="21431" y="33338"/>
                </a:lnTo>
                <a:cubicBezTo>
                  <a:pt x="17486" y="33338"/>
                  <a:pt x="14288" y="36536"/>
                  <a:pt x="14288" y="40481"/>
                </a:cubicBezTo>
                <a:lnTo>
                  <a:pt x="14288" y="169069"/>
                </a:lnTo>
                <a:cubicBezTo>
                  <a:pt x="14288" y="173012"/>
                  <a:pt x="17488" y="176213"/>
                  <a:pt x="21431" y="176213"/>
                </a:cubicBezTo>
                <a:lnTo>
                  <a:pt x="73647" y="176213"/>
                </a:lnTo>
                <a:cubicBezTo>
                  <a:pt x="76374" y="181438"/>
                  <a:pt x="79832" y="186249"/>
                  <a:pt x="83915" y="190500"/>
                </a:cubicBezTo>
                <a:lnTo>
                  <a:pt x="21431" y="190500"/>
                </a:lnTo>
                <a:cubicBezTo>
                  <a:pt x="9595" y="190500"/>
                  <a:pt x="0" y="180905"/>
                  <a:pt x="0" y="169069"/>
                </a:cubicBezTo>
                <a:lnTo>
                  <a:pt x="0" y="40481"/>
                </a:lnTo>
                <a:cubicBezTo>
                  <a:pt x="0" y="28645"/>
                  <a:pt x="9595" y="19050"/>
                  <a:pt x="21431" y="19050"/>
                </a:cubicBezTo>
                <a:lnTo>
                  <a:pt x="38233" y="19050"/>
                </a:lnTo>
                <a:cubicBezTo>
                  <a:pt x="39446" y="8203"/>
                  <a:pt x="48617" y="0"/>
                  <a:pt x="59531" y="0"/>
                </a:cubicBezTo>
                <a:lnTo>
                  <a:pt x="92869" y="0"/>
                </a:lnTo>
                <a:close/>
                <a:moveTo>
                  <a:pt x="114205" y="19355"/>
                </a:moveTo>
                <a:cubicBezTo>
                  <a:pt x="114193" y="19253"/>
                  <a:pt x="114180" y="19151"/>
                  <a:pt x="114167" y="19050"/>
                </a:cubicBezTo>
                <a:lnTo>
                  <a:pt x="114195" y="19355"/>
                </a:lnTo>
                <a:close/>
                <a:moveTo>
                  <a:pt x="114252" y="19964"/>
                </a:moveTo>
                <a:lnTo>
                  <a:pt x="114300" y="21431"/>
                </a:lnTo>
                <a:cubicBezTo>
                  <a:pt x="114300" y="20898"/>
                  <a:pt x="114281" y="20374"/>
                  <a:pt x="114243" y="19850"/>
                </a:cubicBezTo>
                <a:lnTo>
                  <a:pt x="114243" y="19964"/>
                </a:lnTo>
                <a:close/>
                <a:moveTo>
                  <a:pt x="92869" y="14288"/>
                </a:moveTo>
                <a:lnTo>
                  <a:pt x="59531" y="14288"/>
                </a:lnTo>
                <a:cubicBezTo>
                  <a:pt x="55586" y="14288"/>
                  <a:pt x="52388" y="17486"/>
                  <a:pt x="52388" y="21431"/>
                </a:cubicBezTo>
                <a:cubicBezTo>
                  <a:pt x="52388" y="25377"/>
                  <a:pt x="55586" y="28575"/>
                  <a:pt x="59531" y="28575"/>
                </a:cubicBezTo>
                <a:lnTo>
                  <a:pt x="92869" y="28575"/>
                </a:lnTo>
                <a:cubicBezTo>
                  <a:pt x="96814" y="28575"/>
                  <a:pt x="100013" y="25377"/>
                  <a:pt x="100013" y="21431"/>
                </a:cubicBezTo>
                <a:cubicBezTo>
                  <a:pt x="100013" y="17486"/>
                  <a:pt x="96814" y="14288"/>
                  <a:pt x="92869" y="14288"/>
                </a:cubicBezTo>
                <a:close/>
                <a:moveTo>
                  <a:pt x="97898" y="114071"/>
                </a:moveTo>
                <a:cubicBezTo>
                  <a:pt x="100815" y="124180"/>
                  <a:pt x="94986" y="134740"/>
                  <a:pt x="84877" y="137657"/>
                </a:cubicBezTo>
                <a:cubicBezTo>
                  <a:pt x="84644" y="137724"/>
                  <a:pt x="84409" y="137788"/>
                  <a:pt x="84172" y="137846"/>
                </a:cubicBezTo>
                <a:lnTo>
                  <a:pt x="78610" y="139217"/>
                </a:lnTo>
                <a:cubicBezTo>
                  <a:pt x="77718" y="144922"/>
                  <a:pt x="77737" y="150731"/>
                  <a:pt x="78667" y="156429"/>
                </a:cubicBezTo>
                <a:lnTo>
                  <a:pt x="83810" y="157667"/>
                </a:lnTo>
                <a:cubicBezTo>
                  <a:pt x="94039" y="160131"/>
                  <a:pt x="100333" y="170420"/>
                  <a:pt x="97869" y="180648"/>
                </a:cubicBezTo>
                <a:cubicBezTo>
                  <a:pt x="97795" y="180960"/>
                  <a:pt x="97712" y="181268"/>
                  <a:pt x="97622" y="181575"/>
                </a:cubicBezTo>
                <a:lnTo>
                  <a:pt x="95841" y="187595"/>
                </a:lnTo>
                <a:cubicBezTo>
                  <a:pt x="100032" y="191272"/>
                  <a:pt x="104794" y="194253"/>
                  <a:pt x="109976" y="196377"/>
                </a:cubicBezTo>
                <a:lnTo>
                  <a:pt x="114681" y="191424"/>
                </a:lnTo>
                <a:cubicBezTo>
                  <a:pt x="121932" y="183801"/>
                  <a:pt x="133991" y="183501"/>
                  <a:pt x="141613" y="190752"/>
                </a:cubicBezTo>
                <a:cubicBezTo>
                  <a:pt x="141846" y="190973"/>
                  <a:pt x="142073" y="191201"/>
                  <a:pt x="142294" y="191433"/>
                </a:cubicBezTo>
                <a:lnTo>
                  <a:pt x="147037" y="196434"/>
                </a:lnTo>
                <a:cubicBezTo>
                  <a:pt x="152195" y="194337"/>
                  <a:pt x="156968" y="191398"/>
                  <a:pt x="161163" y="187738"/>
                </a:cubicBezTo>
                <a:lnTo>
                  <a:pt x="159277" y="181204"/>
                </a:lnTo>
                <a:cubicBezTo>
                  <a:pt x="156360" y="171095"/>
                  <a:pt x="162189" y="160535"/>
                  <a:pt x="172298" y="157618"/>
                </a:cubicBezTo>
                <a:cubicBezTo>
                  <a:pt x="172531" y="157551"/>
                  <a:pt x="172766" y="157487"/>
                  <a:pt x="173003" y="157429"/>
                </a:cubicBezTo>
                <a:lnTo>
                  <a:pt x="178565" y="156058"/>
                </a:lnTo>
                <a:cubicBezTo>
                  <a:pt x="179458" y="150350"/>
                  <a:pt x="179439" y="144538"/>
                  <a:pt x="178508" y="138836"/>
                </a:cubicBezTo>
                <a:lnTo>
                  <a:pt x="173365" y="137598"/>
                </a:lnTo>
                <a:cubicBezTo>
                  <a:pt x="163136" y="135134"/>
                  <a:pt x="156842" y="124845"/>
                  <a:pt x="159306" y="114617"/>
                </a:cubicBezTo>
                <a:cubicBezTo>
                  <a:pt x="159380" y="114306"/>
                  <a:pt x="159463" y="113997"/>
                  <a:pt x="159553" y="113690"/>
                </a:cubicBezTo>
                <a:lnTo>
                  <a:pt x="161334" y="107690"/>
                </a:lnTo>
                <a:cubicBezTo>
                  <a:pt x="157143" y="103998"/>
                  <a:pt x="152366" y="101030"/>
                  <a:pt x="147199" y="98908"/>
                </a:cubicBezTo>
                <a:lnTo>
                  <a:pt x="142504" y="103842"/>
                </a:lnTo>
                <a:cubicBezTo>
                  <a:pt x="135257" y="111469"/>
                  <a:pt x="123199" y="111779"/>
                  <a:pt x="115572" y="104532"/>
                </a:cubicBezTo>
                <a:cubicBezTo>
                  <a:pt x="115335" y="104308"/>
                  <a:pt x="115105" y="104078"/>
                  <a:pt x="114881" y="103842"/>
                </a:cubicBezTo>
                <a:lnTo>
                  <a:pt x="110138" y="98841"/>
                </a:lnTo>
                <a:cubicBezTo>
                  <a:pt x="104956" y="100936"/>
                  <a:pt x="100193" y="103889"/>
                  <a:pt x="96012" y="107528"/>
                </a:cubicBezTo>
                <a:lnTo>
                  <a:pt x="97898" y="114071"/>
                </a:lnTo>
                <a:close/>
                <a:moveTo>
                  <a:pt x="128588" y="161925"/>
                </a:moveTo>
                <a:cubicBezTo>
                  <a:pt x="120968" y="161925"/>
                  <a:pt x="114776" y="155524"/>
                  <a:pt x="114776" y="147638"/>
                </a:cubicBezTo>
                <a:cubicBezTo>
                  <a:pt x="114776" y="139751"/>
                  <a:pt x="120968" y="133350"/>
                  <a:pt x="128588" y="133350"/>
                </a:cubicBezTo>
                <a:cubicBezTo>
                  <a:pt x="136208" y="133350"/>
                  <a:pt x="142399" y="139751"/>
                  <a:pt x="142399" y="147638"/>
                </a:cubicBezTo>
                <a:cubicBezTo>
                  <a:pt x="142399" y="155524"/>
                  <a:pt x="136208" y="161925"/>
                  <a:pt x="128588" y="161925"/>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600" b="1" noProof="0" dirty="0">
              <a:ln w="3175">
                <a:noFill/>
              </a:ln>
              <a:gradFill>
                <a:gsLst>
                  <a:gs pos="76437">
                    <a:srgbClr val="FFFFFF"/>
                  </a:gs>
                  <a:gs pos="55747">
                    <a:srgbClr val="FFFFFF"/>
                  </a:gs>
                </a:gsLst>
                <a:path path="circle">
                  <a:fillToRect l="100000" b="100000"/>
                </a:path>
              </a:gradFill>
              <a:latin typeface="Segoe UI Semibold"/>
              <a:cs typeface="Segoe UI" pitchFamily="34" charset="0"/>
            </a:endParaRPr>
          </a:p>
        </p:txBody>
      </p:sp>
      <p:sp>
        <p:nvSpPr>
          <p:cNvPr id="67" name="Graphic 41" descr="Icon of a team of three people with a briefcase">
            <a:extLst>
              <a:ext uri="{FF2B5EF4-FFF2-40B4-BE49-F238E27FC236}">
                <a16:creationId xmlns:a16="http://schemas.microsoft.com/office/drawing/2014/main" id="{01EC4EB5-6425-9725-FB0E-E47B1E937DB7}"/>
              </a:ext>
            </a:extLst>
          </p:cNvPr>
          <p:cNvSpPr/>
          <p:nvPr/>
        </p:nvSpPr>
        <p:spPr>
          <a:xfrm>
            <a:off x="4478920" y="4641702"/>
            <a:ext cx="206260" cy="196438"/>
          </a:xfrm>
          <a:custGeom>
            <a:avLst/>
            <a:gdLst>
              <a:gd name="connsiteX0" fmla="*/ 121482 w 200025"/>
              <a:gd name="connsiteY0" fmla="*/ 66675 h 190500"/>
              <a:gd name="connsiteX1" fmla="*/ 137465 w 200025"/>
              <a:gd name="connsiteY1" fmla="*/ 78581 h 190500"/>
              <a:gd name="connsiteX2" fmla="*/ 130969 w 200025"/>
              <a:gd name="connsiteY2" fmla="*/ 78581 h 190500"/>
              <a:gd name="connsiteX3" fmla="*/ 120044 w 200025"/>
              <a:gd name="connsiteY3" fmla="*/ 80963 h 190500"/>
              <a:gd name="connsiteX4" fmla="*/ 69075 w 200025"/>
              <a:gd name="connsiteY4" fmla="*/ 80963 h 190500"/>
              <a:gd name="connsiteX5" fmla="*/ 66694 w 200025"/>
              <a:gd name="connsiteY5" fmla="*/ 83344 h 190500"/>
              <a:gd name="connsiteX6" fmla="*/ 66694 w 200025"/>
              <a:gd name="connsiteY6" fmla="*/ 128578 h 190500"/>
              <a:gd name="connsiteX7" fmla="*/ 85725 w 200025"/>
              <a:gd name="connsiteY7" fmla="*/ 155534 h 190500"/>
              <a:gd name="connsiteX8" fmla="*/ 85725 w 200025"/>
              <a:gd name="connsiteY8" fmla="*/ 170383 h 190500"/>
              <a:gd name="connsiteX9" fmla="*/ 52407 w 200025"/>
              <a:gd name="connsiteY9" fmla="*/ 128578 h 190500"/>
              <a:gd name="connsiteX10" fmla="*/ 52407 w 200025"/>
              <a:gd name="connsiteY10" fmla="*/ 83344 h 190500"/>
              <a:gd name="connsiteX11" fmla="*/ 69075 w 200025"/>
              <a:gd name="connsiteY11" fmla="*/ 66675 h 190500"/>
              <a:gd name="connsiteX12" fmla="*/ 121482 w 200025"/>
              <a:gd name="connsiteY12" fmla="*/ 66675 h 190500"/>
              <a:gd name="connsiteX13" fmla="*/ 164306 w 200025"/>
              <a:gd name="connsiteY13" fmla="*/ 78581 h 190500"/>
              <a:gd name="connsiteX14" fmla="*/ 190500 w 200025"/>
              <a:gd name="connsiteY14" fmla="*/ 104661 h 190500"/>
              <a:gd name="connsiteX15" fmla="*/ 190500 w 200025"/>
              <a:gd name="connsiteY15" fmla="*/ 83344 h 190500"/>
              <a:gd name="connsiteX16" fmla="*/ 173831 w 200025"/>
              <a:gd name="connsiteY16" fmla="*/ 66675 h 190500"/>
              <a:gd name="connsiteX17" fmla="*/ 141684 w 200025"/>
              <a:gd name="connsiteY17" fmla="*/ 66675 h 190500"/>
              <a:gd name="connsiteX18" fmla="*/ 147247 w 200025"/>
              <a:gd name="connsiteY18" fmla="*/ 78581 h 190500"/>
              <a:gd name="connsiteX19" fmla="*/ 164306 w 200025"/>
              <a:gd name="connsiteY19" fmla="*/ 78581 h 190500"/>
              <a:gd name="connsiteX20" fmla="*/ 16669 w 200025"/>
              <a:gd name="connsiteY20" fmla="*/ 66675 h 190500"/>
              <a:gd name="connsiteX21" fmla="*/ 48873 w 200025"/>
              <a:gd name="connsiteY21" fmla="*/ 66675 h 190500"/>
              <a:gd name="connsiteX22" fmla="*/ 42986 w 200025"/>
              <a:gd name="connsiteY22" fmla="*/ 80963 h 190500"/>
              <a:gd name="connsiteX23" fmla="*/ 16669 w 200025"/>
              <a:gd name="connsiteY23" fmla="*/ 80963 h 190500"/>
              <a:gd name="connsiteX24" fmla="*/ 14288 w 200025"/>
              <a:gd name="connsiteY24" fmla="*/ 83344 h 190500"/>
              <a:gd name="connsiteX25" fmla="*/ 14288 w 200025"/>
              <a:gd name="connsiteY25" fmla="*/ 114290 h 190500"/>
              <a:gd name="connsiteX26" fmla="*/ 38106 w 200025"/>
              <a:gd name="connsiteY26" fmla="*/ 138116 h 190500"/>
              <a:gd name="connsiteX27" fmla="*/ 43644 w 200025"/>
              <a:gd name="connsiteY27" fmla="*/ 137465 h 190500"/>
              <a:gd name="connsiteX28" fmla="*/ 47958 w 200025"/>
              <a:gd name="connsiteY28" fmla="*/ 151105 h 190500"/>
              <a:gd name="connsiteX29" fmla="*/ 1295 w 200025"/>
              <a:gd name="connsiteY29" fmla="*/ 124138 h 190500"/>
              <a:gd name="connsiteX30" fmla="*/ 0 w 200025"/>
              <a:gd name="connsiteY30" fmla="*/ 114290 h 190500"/>
              <a:gd name="connsiteX31" fmla="*/ 0 w 200025"/>
              <a:gd name="connsiteY31" fmla="*/ 83344 h 190500"/>
              <a:gd name="connsiteX32" fmla="*/ 16669 w 200025"/>
              <a:gd name="connsiteY32" fmla="*/ 66675 h 190500"/>
              <a:gd name="connsiteX33" fmla="*/ 95250 w 200025"/>
              <a:gd name="connsiteY33" fmla="*/ 0 h 190500"/>
              <a:gd name="connsiteX34" fmla="*/ 123825 w 200025"/>
              <a:gd name="connsiteY34" fmla="*/ 28575 h 190500"/>
              <a:gd name="connsiteX35" fmla="*/ 95250 w 200025"/>
              <a:gd name="connsiteY35" fmla="*/ 57150 h 190500"/>
              <a:gd name="connsiteX36" fmla="*/ 66675 w 200025"/>
              <a:gd name="connsiteY36" fmla="*/ 28575 h 190500"/>
              <a:gd name="connsiteX37" fmla="*/ 95250 w 200025"/>
              <a:gd name="connsiteY37" fmla="*/ 0 h 190500"/>
              <a:gd name="connsiteX38" fmla="*/ 95250 w 200025"/>
              <a:gd name="connsiteY38" fmla="*/ 14288 h 190500"/>
              <a:gd name="connsiteX39" fmla="*/ 80963 w 200025"/>
              <a:gd name="connsiteY39" fmla="*/ 28575 h 190500"/>
              <a:gd name="connsiteX40" fmla="*/ 95250 w 200025"/>
              <a:gd name="connsiteY40" fmla="*/ 42863 h 190500"/>
              <a:gd name="connsiteX41" fmla="*/ 109538 w 200025"/>
              <a:gd name="connsiteY41" fmla="*/ 28575 h 190500"/>
              <a:gd name="connsiteX42" fmla="*/ 95250 w 200025"/>
              <a:gd name="connsiteY42" fmla="*/ 14288 h 190500"/>
              <a:gd name="connsiteX43" fmla="*/ 157163 w 200025"/>
              <a:gd name="connsiteY43" fmla="*/ 9525 h 190500"/>
              <a:gd name="connsiteX44" fmla="*/ 180975 w 200025"/>
              <a:gd name="connsiteY44" fmla="*/ 33338 h 190500"/>
              <a:gd name="connsiteX45" fmla="*/ 157163 w 200025"/>
              <a:gd name="connsiteY45" fmla="*/ 57150 h 190500"/>
              <a:gd name="connsiteX46" fmla="*/ 133350 w 200025"/>
              <a:gd name="connsiteY46" fmla="*/ 33338 h 190500"/>
              <a:gd name="connsiteX47" fmla="*/ 157163 w 200025"/>
              <a:gd name="connsiteY47" fmla="*/ 9525 h 190500"/>
              <a:gd name="connsiteX48" fmla="*/ 157163 w 200025"/>
              <a:gd name="connsiteY48" fmla="*/ 23813 h 190500"/>
              <a:gd name="connsiteX49" fmla="*/ 147638 w 200025"/>
              <a:gd name="connsiteY49" fmla="*/ 33338 h 190500"/>
              <a:gd name="connsiteX50" fmla="*/ 157163 w 200025"/>
              <a:gd name="connsiteY50" fmla="*/ 42863 h 190500"/>
              <a:gd name="connsiteX51" fmla="*/ 166688 w 200025"/>
              <a:gd name="connsiteY51" fmla="*/ 33338 h 190500"/>
              <a:gd name="connsiteX52" fmla="*/ 157163 w 200025"/>
              <a:gd name="connsiteY52" fmla="*/ 23813 h 190500"/>
              <a:gd name="connsiteX53" fmla="*/ 33338 w 200025"/>
              <a:gd name="connsiteY53" fmla="*/ 9525 h 190500"/>
              <a:gd name="connsiteX54" fmla="*/ 57150 w 200025"/>
              <a:gd name="connsiteY54" fmla="*/ 33338 h 190500"/>
              <a:gd name="connsiteX55" fmla="*/ 33338 w 200025"/>
              <a:gd name="connsiteY55" fmla="*/ 57150 h 190500"/>
              <a:gd name="connsiteX56" fmla="*/ 9525 w 200025"/>
              <a:gd name="connsiteY56" fmla="*/ 33338 h 190500"/>
              <a:gd name="connsiteX57" fmla="*/ 33338 w 200025"/>
              <a:gd name="connsiteY57" fmla="*/ 9525 h 190500"/>
              <a:gd name="connsiteX58" fmla="*/ 33338 w 200025"/>
              <a:gd name="connsiteY58" fmla="*/ 23813 h 190500"/>
              <a:gd name="connsiteX59" fmla="*/ 23813 w 200025"/>
              <a:gd name="connsiteY59" fmla="*/ 33338 h 190500"/>
              <a:gd name="connsiteX60" fmla="*/ 33338 w 200025"/>
              <a:gd name="connsiteY60" fmla="*/ 42863 h 190500"/>
              <a:gd name="connsiteX61" fmla="*/ 42863 w 200025"/>
              <a:gd name="connsiteY61" fmla="*/ 33338 h 190500"/>
              <a:gd name="connsiteX62" fmla="*/ 33338 w 200025"/>
              <a:gd name="connsiteY62" fmla="*/ 23813 h 190500"/>
              <a:gd name="connsiteX63" fmla="*/ 114300 w 200025"/>
              <a:gd name="connsiteY63" fmla="*/ 114300 h 190500"/>
              <a:gd name="connsiteX64" fmla="*/ 109538 w 200025"/>
              <a:gd name="connsiteY64" fmla="*/ 114300 h 190500"/>
              <a:gd name="connsiteX65" fmla="*/ 95250 w 200025"/>
              <a:gd name="connsiteY65" fmla="*/ 128588 h 190500"/>
              <a:gd name="connsiteX66" fmla="*/ 95250 w 200025"/>
              <a:gd name="connsiteY66" fmla="*/ 142875 h 190500"/>
              <a:gd name="connsiteX67" fmla="*/ 119063 w 200025"/>
              <a:gd name="connsiteY67" fmla="*/ 142875 h 190500"/>
              <a:gd name="connsiteX68" fmla="*/ 119063 w 200025"/>
              <a:gd name="connsiteY68" fmla="*/ 140494 h 190500"/>
              <a:gd name="connsiteX69" fmla="*/ 126206 w 200025"/>
              <a:gd name="connsiteY69" fmla="*/ 133350 h 190500"/>
              <a:gd name="connsiteX70" fmla="*/ 133350 w 200025"/>
              <a:gd name="connsiteY70" fmla="*/ 140494 h 190500"/>
              <a:gd name="connsiteX71" fmla="*/ 133350 w 200025"/>
              <a:gd name="connsiteY71" fmla="*/ 142875 h 190500"/>
              <a:gd name="connsiteX72" fmla="*/ 161925 w 200025"/>
              <a:gd name="connsiteY72" fmla="*/ 142875 h 190500"/>
              <a:gd name="connsiteX73" fmla="*/ 161925 w 200025"/>
              <a:gd name="connsiteY73" fmla="*/ 140494 h 190500"/>
              <a:gd name="connsiteX74" fmla="*/ 169069 w 200025"/>
              <a:gd name="connsiteY74" fmla="*/ 133350 h 190500"/>
              <a:gd name="connsiteX75" fmla="*/ 176213 w 200025"/>
              <a:gd name="connsiteY75" fmla="*/ 140494 h 190500"/>
              <a:gd name="connsiteX76" fmla="*/ 176213 w 200025"/>
              <a:gd name="connsiteY76" fmla="*/ 142875 h 190500"/>
              <a:gd name="connsiteX77" fmla="*/ 200025 w 200025"/>
              <a:gd name="connsiteY77" fmla="*/ 142875 h 190500"/>
              <a:gd name="connsiteX78" fmla="*/ 200025 w 200025"/>
              <a:gd name="connsiteY78" fmla="*/ 128588 h 190500"/>
              <a:gd name="connsiteX79" fmla="*/ 185738 w 200025"/>
              <a:gd name="connsiteY79" fmla="*/ 114300 h 190500"/>
              <a:gd name="connsiteX80" fmla="*/ 180975 w 200025"/>
              <a:gd name="connsiteY80" fmla="*/ 114300 h 190500"/>
              <a:gd name="connsiteX81" fmla="*/ 180975 w 200025"/>
              <a:gd name="connsiteY81" fmla="*/ 104775 h 190500"/>
              <a:gd name="connsiteX82" fmla="*/ 164306 w 200025"/>
              <a:gd name="connsiteY82" fmla="*/ 88106 h 190500"/>
              <a:gd name="connsiteX83" fmla="*/ 130969 w 200025"/>
              <a:gd name="connsiteY83" fmla="*/ 88106 h 190500"/>
              <a:gd name="connsiteX84" fmla="*/ 114300 w 200025"/>
              <a:gd name="connsiteY84" fmla="*/ 104775 h 190500"/>
              <a:gd name="connsiteX85" fmla="*/ 114300 w 200025"/>
              <a:gd name="connsiteY85" fmla="*/ 114300 h 190500"/>
              <a:gd name="connsiteX86" fmla="*/ 128588 w 200025"/>
              <a:gd name="connsiteY86" fmla="*/ 104775 h 190500"/>
              <a:gd name="connsiteX87" fmla="*/ 130969 w 200025"/>
              <a:gd name="connsiteY87" fmla="*/ 102394 h 190500"/>
              <a:gd name="connsiteX88" fmla="*/ 164306 w 200025"/>
              <a:gd name="connsiteY88" fmla="*/ 102394 h 190500"/>
              <a:gd name="connsiteX89" fmla="*/ 166688 w 200025"/>
              <a:gd name="connsiteY89" fmla="*/ 104775 h 190500"/>
              <a:gd name="connsiteX90" fmla="*/ 166688 w 200025"/>
              <a:gd name="connsiteY90" fmla="*/ 114300 h 190500"/>
              <a:gd name="connsiteX91" fmla="*/ 128588 w 200025"/>
              <a:gd name="connsiteY91" fmla="*/ 114300 h 190500"/>
              <a:gd name="connsiteX92" fmla="*/ 128588 w 200025"/>
              <a:gd name="connsiteY92" fmla="*/ 104775 h 190500"/>
              <a:gd name="connsiteX93" fmla="*/ 95250 w 200025"/>
              <a:gd name="connsiteY93" fmla="*/ 176213 h 190500"/>
              <a:gd name="connsiteX94" fmla="*/ 95250 w 200025"/>
              <a:gd name="connsiteY94" fmla="*/ 157163 h 190500"/>
              <a:gd name="connsiteX95" fmla="*/ 119063 w 200025"/>
              <a:gd name="connsiteY95" fmla="*/ 157163 h 190500"/>
              <a:gd name="connsiteX96" fmla="*/ 119063 w 200025"/>
              <a:gd name="connsiteY96" fmla="*/ 164306 h 190500"/>
              <a:gd name="connsiteX97" fmla="*/ 126206 w 200025"/>
              <a:gd name="connsiteY97" fmla="*/ 171450 h 190500"/>
              <a:gd name="connsiteX98" fmla="*/ 133350 w 200025"/>
              <a:gd name="connsiteY98" fmla="*/ 164306 h 190500"/>
              <a:gd name="connsiteX99" fmla="*/ 133350 w 200025"/>
              <a:gd name="connsiteY99" fmla="*/ 157163 h 190500"/>
              <a:gd name="connsiteX100" fmla="*/ 161925 w 200025"/>
              <a:gd name="connsiteY100" fmla="*/ 157163 h 190500"/>
              <a:gd name="connsiteX101" fmla="*/ 161925 w 200025"/>
              <a:gd name="connsiteY101" fmla="*/ 164306 h 190500"/>
              <a:gd name="connsiteX102" fmla="*/ 169069 w 200025"/>
              <a:gd name="connsiteY102" fmla="*/ 171450 h 190500"/>
              <a:gd name="connsiteX103" fmla="*/ 176213 w 200025"/>
              <a:gd name="connsiteY103" fmla="*/ 164306 h 190500"/>
              <a:gd name="connsiteX104" fmla="*/ 176213 w 200025"/>
              <a:gd name="connsiteY104" fmla="*/ 157163 h 190500"/>
              <a:gd name="connsiteX105" fmla="*/ 200025 w 200025"/>
              <a:gd name="connsiteY105" fmla="*/ 157163 h 190500"/>
              <a:gd name="connsiteX106" fmla="*/ 200025 w 200025"/>
              <a:gd name="connsiteY106" fmla="*/ 176213 h 190500"/>
              <a:gd name="connsiteX107" fmla="*/ 185738 w 200025"/>
              <a:gd name="connsiteY107" fmla="*/ 190500 h 190500"/>
              <a:gd name="connsiteX108" fmla="*/ 109538 w 200025"/>
              <a:gd name="connsiteY108" fmla="*/ 190500 h 190500"/>
              <a:gd name="connsiteX109" fmla="*/ 95250 w 200025"/>
              <a:gd name="connsiteY109" fmla="*/ 176213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200025" h="190500">
                <a:moveTo>
                  <a:pt x="121482" y="66675"/>
                </a:moveTo>
                <a:cubicBezTo>
                  <a:pt x="128857" y="66671"/>
                  <a:pt x="135358" y="71514"/>
                  <a:pt x="137465" y="78581"/>
                </a:cubicBezTo>
                <a:lnTo>
                  <a:pt x="130969" y="78581"/>
                </a:lnTo>
                <a:cubicBezTo>
                  <a:pt x="127064" y="78581"/>
                  <a:pt x="123368" y="79439"/>
                  <a:pt x="120044" y="80963"/>
                </a:cubicBezTo>
                <a:lnTo>
                  <a:pt x="69075" y="80963"/>
                </a:lnTo>
                <a:cubicBezTo>
                  <a:pt x="67760" y="80963"/>
                  <a:pt x="66694" y="82028"/>
                  <a:pt x="66694" y="83344"/>
                </a:cubicBezTo>
                <a:lnTo>
                  <a:pt x="66694" y="128578"/>
                </a:lnTo>
                <a:cubicBezTo>
                  <a:pt x="66694" y="141018"/>
                  <a:pt x="74638" y="151600"/>
                  <a:pt x="85725" y="155534"/>
                </a:cubicBezTo>
                <a:lnTo>
                  <a:pt x="85725" y="170383"/>
                </a:lnTo>
                <a:cubicBezTo>
                  <a:pt x="66231" y="165920"/>
                  <a:pt x="52408" y="148577"/>
                  <a:pt x="52407" y="128578"/>
                </a:cubicBezTo>
                <a:lnTo>
                  <a:pt x="52407" y="83344"/>
                </a:lnTo>
                <a:cubicBezTo>
                  <a:pt x="52407" y="74143"/>
                  <a:pt x="59865" y="66675"/>
                  <a:pt x="69075" y="66675"/>
                </a:cubicBezTo>
                <a:lnTo>
                  <a:pt x="121482" y="66675"/>
                </a:lnTo>
                <a:close/>
                <a:moveTo>
                  <a:pt x="164306" y="78581"/>
                </a:moveTo>
                <a:cubicBezTo>
                  <a:pt x="178728" y="78581"/>
                  <a:pt x="190437" y="90239"/>
                  <a:pt x="190500" y="104661"/>
                </a:cubicBezTo>
                <a:lnTo>
                  <a:pt x="190500" y="83344"/>
                </a:lnTo>
                <a:cubicBezTo>
                  <a:pt x="190500" y="74138"/>
                  <a:pt x="183037" y="66675"/>
                  <a:pt x="173831" y="66675"/>
                </a:cubicBezTo>
                <a:lnTo>
                  <a:pt x="141684" y="66675"/>
                </a:lnTo>
                <a:cubicBezTo>
                  <a:pt x="144466" y="70037"/>
                  <a:pt x="146418" y="74105"/>
                  <a:pt x="147247" y="78581"/>
                </a:cubicBezTo>
                <a:lnTo>
                  <a:pt x="164306" y="78581"/>
                </a:lnTo>
                <a:close/>
                <a:moveTo>
                  <a:pt x="16669" y="66675"/>
                </a:moveTo>
                <a:lnTo>
                  <a:pt x="48873" y="66675"/>
                </a:lnTo>
                <a:cubicBezTo>
                  <a:pt x="45512" y="70734"/>
                  <a:pt x="43460" y="75714"/>
                  <a:pt x="42986" y="80963"/>
                </a:cubicBezTo>
                <a:lnTo>
                  <a:pt x="16669" y="80963"/>
                </a:lnTo>
                <a:cubicBezTo>
                  <a:pt x="15354" y="80963"/>
                  <a:pt x="14288" y="82028"/>
                  <a:pt x="14288" y="83344"/>
                </a:cubicBezTo>
                <a:lnTo>
                  <a:pt x="14288" y="114290"/>
                </a:lnTo>
                <a:cubicBezTo>
                  <a:pt x="14285" y="127447"/>
                  <a:pt x="24949" y="138114"/>
                  <a:pt x="38106" y="138116"/>
                </a:cubicBezTo>
                <a:cubicBezTo>
                  <a:pt x="39971" y="138117"/>
                  <a:pt x="41829" y="137898"/>
                  <a:pt x="43644" y="137465"/>
                </a:cubicBezTo>
                <a:cubicBezTo>
                  <a:pt x="44453" y="142265"/>
                  <a:pt x="45930" y="146847"/>
                  <a:pt x="47958" y="151105"/>
                </a:cubicBezTo>
                <a:cubicBezTo>
                  <a:pt x="27626" y="156544"/>
                  <a:pt x="6734" y="144470"/>
                  <a:pt x="1295" y="124138"/>
                </a:cubicBezTo>
                <a:cubicBezTo>
                  <a:pt x="435" y="120927"/>
                  <a:pt x="0" y="117616"/>
                  <a:pt x="0" y="114290"/>
                </a:cubicBezTo>
                <a:lnTo>
                  <a:pt x="0" y="83344"/>
                </a:lnTo>
                <a:cubicBezTo>
                  <a:pt x="0" y="74143"/>
                  <a:pt x="7468" y="66675"/>
                  <a:pt x="16669" y="66675"/>
                </a:cubicBezTo>
                <a:close/>
                <a:moveTo>
                  <a:pt x="95250" y="0"/>
                </a:moveTo>
                <a:cubicBezTo>
                  <a:pt x="111032" y="0"/>
                  <a:pt x="123825" y="12794"/>
                  <a:pt x="123825" y="28575"/>
                </a:cubicBezTo>
                <a:cubicBezTo>
                  <a:pt x="123825" y="44356"/>
                  <a:pt x="111032" y="57150"/>
                  <a:pt x="95250" y="57150"/>
                </a:cubicBezTo>
                <a:cubicBezTo>
                  <a:pt x="79468" y="57150"/>
                  <a:pt x="66675" y="44356"/>
                  <a:pt x="66675" y="28575"/>
                </a:cubicBezTo>
                <a:cubicBezTo>
                  <a:pt x="66675" y="12794"/>
                  <a:pt x="79468" y="0"/>
                  <a:pt x="95250" y="0"/>
                </a:cubicBezTo>
                <a:close/>
                <a:moveTo>
                  <a:pt x="95250" y="14288"/>
                </a:moveTo>
                <a:cubicBezTo>
                  <a:pt x="87359" y="14288"/>
                  <a:pt x="80963" y="20684"/>
                  <a:pt x="80963" y="28575"/>
                </a:cubicBezTo>
                <a:cubicBezTo>
                  <a:pt x="80963" y="36466"/>
                  <a:pt x="87359" y="42863"/>
                  <a:pt x="95250" y="42863"/>
                </a:cubicBezTo>
                <a:cubicBezTo>
                  <a:pt x="103141" y="42863"/>
                  <a:pt x="109538" y="36466"/>
                  <a:pt x="109538" y="28575"/>
                </a:cubicBezTo>
                <a:cubicBezTo>
                  <a:pt x="109538" y="20684"/>
                  <a:pt x="103141" y="14288"/>
                  <a:pt x="95250" y="14288"/>
                </a:cubicBezTo>
                <a:close/>
                <a:moveTo>
                  <a:pt x="157163" y="9525"/>
                </a:moveTo>
                <a:cubicBezTo>
                  <a:pt x="170314" y="9525"/>
                  <a:pt x="180975" y="20186"/>
                  <a:pt x="180975" y="33338"/>
                </a:cubicBezTo>
                <a:cubicBezTo>
                  <a:pt x="180975" y="46489"/>
                  <a:pt x="170314" y="57150"/>
                  <a:pt x="157163" y="57150"/>
                </a:cubicBezTo>
                <a:cubicBezTo>
                  <a:pt x="144011" y="57150"/>
                  <a:pt x="133350" y="46489"/>
                  <a:pt x="133350" y="33338"/>
                </a:cubicBezTo>
                <a:cubicBezTo>
                  <a:pt x="133350" y="20186"/>
                  <a:pt x="144011" y="9525"/>
                  <a:pt x="157163" y="9525"/>
                </a:cubicBezTo>
                <a:close/>
                <a:moveTo>
                  <a:pt x="157163" y="23813"/>
                </a:moveTo>
                <a:cubicBezTo>
                  <a:pt x="151902" y="23813"/>
                  <a:pt x="147638" y="28077"/>
                  <a:pt x="147638" y="33338"/>
                </a:cubicBezTo>
                <a:cubicBezTo>
                  <a:pt x="147638" y="38598"/>
                  <a:pt x="151902" y="42863"/>
                  <a:pt x="157163" y="42863"/>
                </a:cubicBezTo>
                <a:cubicBezTo>
                  <a:pt x="162423" y="42863"/>
                  <a:pt x="166688" y="38598"/>
                  <a:pt x="166688" y="33338"/>
                </a:cubicBezTo>
                <a:cubicBezTo>
                  <a:pt x="166688" y="28077"/>
                  <a:pt x="162423" y="23813"/>
                  <a:pt x="157163" y="23813"/>
                </a:cubicBezTo>
                <a:close/>
                <a:moveTo>
                  <a:pt x="33338" y="9525"/>
                </a:moveTo>
                <a:cubicBezTo>
                  <a:pt x="46489" y="9525"/>
                  <a:pt x="57150" y="20186"/>
                  <a:pt x="57150" y="33338"/>
                </a:cubicBezTo>
                <a:cubicBezTo>
                  <a:pt x="57150" y="46489"/>
                  <a:pt x="46489" y="57150"/>
                  <a:pt x="33338" y="57150"/>
                </a:cubicBezTo>
                <a:cubicBezTo>
                  <a:pt x="20186" y="57150"/>
                  <a:pt x="9525" y="46489"/>
                  <a:pt x="9525" y="33338"/>
                </a:cubicBezTo>
                <a:cubicBezTo>
                  <a:pt x="9525" y="20186"/>
                  <a:pt x="20186" y="9525"/>
                  <a:pt x="33338" y="9525"/>
                </a:cubicBezTo>
                <a:close/>
                <a:moveTo>
                  <a:pt x="33338" y="23813"/>
                </a:moveTo>
                <a:cubicBezTo>
                  <a:pt x="28077" y="23813"/>
                  <a:pt x="23813" y="28077"/>
                  <a:pt x="23813" y="33338"/>
                </a:cubicBezTo>
                <a:cubicBezTo>
                  <a:pt x="23813" y="38598"/>
                  <a:pt x="28077" y="42863"/>
                  <a:pt x="33338" y="42863"/>
                </a:cubicBezTo>
                <a:cubicBezTo>
                  <a:pt x="38598" y="42863"/>
                  <a:pt x="42863" y="38598"/>
                  <a:pt x="42863" y="33338"/>
                </a:cubicBezTo>
                <a:cubicBezTo>
                  <a:pt x="42863" y="28077"/>
                  <a:pt x="38598" y="23813"/>
                  <a:pt x="33338" y="23813"/>
                </a:cubicBezTo>
                <a:close/>
                <a:moveTo>
                  <a:pt x="114300" y="114300"/>
                </a:moveTo>
                <a:lnTo>
                  <a:pt x="109538" y="114300"/>
                </a:lnTo>
                <a:cubicBezTo>
                  <a:pt x="101647" y="114300"/>
                  <a:pt x="95250" y="120697"/>
                  <a:pt x="95250" y="128588"/>
                </a:cubicBezTo>
                <a:lnTo>
                  <a:pt x="95250" y="142875"/>
                </a:lnTo>
                <a:lnTo>
                  <a:pt x="119063" y="142875"/>
                </a:lnTo>
                <a:lnTo>
                  <a:pt x="119063" y="140494"/>
                </a:lnTo>
                <a:cubicBezTo>
                  <a:pt x="119063" y="136549"/>
                  <a:pt x="122261" y="133350"/>
                  <a:pt x="126206" y="133350"/>
                </a:cubicBezTo>
                <a:cubicBezTo>
                  <a:pt x="130152" y="133350"/>
                  <a:pt x="133350" y="136549"/>
                  <a:pt x="133350" y="140494"/>
                </a:cubicBezTo>
                <a:lnTo>
                  <a:pt x="133350" y="142875"/>
                </a:lnTo>
                <a:lnTo>
                  <a:pt x="161925" y="142875"/>
                </a:lnTo>
                <a:lnTo>
                  <a:pt x="161925" y="140494"/>
                </a:lnTo>
                <a:cubicBezTo>
                  <a:pt x="161925" y="136549"/>
                  <a:pt x="165124" y="133350"/>
                  <a:pt x="169069" y="133350"/>
                </a:cubicBezTo>
                <a:cubicBezTo>
                  <a:pt x="173014" y="133350"/>
                  <a:pt x="176213" y="136549"/>
                  <a:pt x="176213" y="140494"/>
                </a:cubicBezTo>
                <a:lnTo>
                  <a:pt x="176213" y="142875"/>
                </a:lnTo>
                <a:lnTo>
                  <a:pt x="200025" y="142875"/>
                </a:lnTo>
                <a:lnTo>
                  <a:pt x="200025" y="128588"/>
                </a:lnTo>
                <a:cubicBezTo>
                  <a:pt x="200025" y="120697"/>
                  <a:pt x="193628" y="114300"/>
                  <a:pt x="185738" y="114300"/>
                </a:cubicBezTo>
                <a:lnTo>
                  <a:pt x="180975" y="114300"/>
                </a:lnTo>
                <a:lnTo>
                  <a:pt x="180975" y="104775"/>
                </a:lnTo>
                <a:cubicBezTo>
                  <a:pt x="180975" y="95569"/>
                  <a:pt x="173512" y="88106"/>
                  <a:pt x="164306" y="88106"/>
                </a:cubicBezTo>
                <a:lnTo>
                  <a:pt x="130969" y="88106"/>
                </a:lnTo>
                <a:cubicBezTo>
                  <a:pt x="121763" y="88106"/>
                  <a:pt x="114300" y="95569"/>
                  <a:pt x="114300" y="104775"/>
                </a:cubicBezTo>
                <a:lnTo>
                  <a:pt x="114300" y="114300"/>
                </a:lnTo>
                <a:close/>
                <a:moveTo>
                  <a:pt x="128588" y="104775"/>
                </a:moveTo>
                <a:cubicBezTo>
                  <a:pt x="128588" y="103460"/>
                  <a:pt x="129653" y="102394"/>
                  <a:pt x="130969" y="102394"/>
                </a:cubicBezTo>
                <a:lnTo>
                  <a:pt x="164306" y="102394"/>
                </a:lnTo>
                <a:cubicBezTo>
                  <a:pt x="165622" y="102394"/>
                  <a:pt x="166688" y="103460"/>
                  <a:pt x="166688" y="104775"/>
                </a:cubicBezTo>
                <a:lnTo>
                  <a:pt x="166688" y="114300"/>
                </a:lnTo>
                <a:lnTo>
                  <a:pt x="128588" y="114300"/>
                </a:lnTo>
                <a:lnTo>
                  <a:pt x="128588" y="104775"/>
                </a:lnTo>
                <a:close/>
                <a:moveTo>
                  <a:pt x="95250" y="176213"/>
                </a:moveTo>
                <a:lnTo>
                  <a:pt x="95250" y="157163"/>
                </a:lnTo>
                <a:lnTo>
                  <a:pt x="119063" y="157163"/>
                </a:lnTo>
                <a:lnTo>
                  <a:pt x="119063" y="164306"/>
                </a:lnTo>
                <a:cubicBezTo>
                  <a:pt x="119063" y="168252"/>
                  <a:pt x="122261" y="171450"/>
                  <a:pt x="126206" y="171450"/>
                </a:cubicBezTo>
                <a:cubicBezTo>
                  <a:pt x="130152" y="171450"/>
                  <a:pt x="133350" y="168252"/>
                  <a:pt x="133350" y="164306"/>
                </a:cubicBezTo>
                <a:lnTo>
                  <a:pt x="133350" y="157163"/>
                </a:lnTo>
                <a:lnTo>
                  <a:pt x="161925" y="157163"/>
                </a:lnTo>
                <a:lnTo>
                  <a:pt x="161925" y="164306"/>
                </a:lnTo>
                <a:cubicBezTo>
                  <a:pt x="161925" y="168252"/>
                  <a:pt x="165124" y="171450"/>
                  <a:pt x="169069" y="171450"/>
                </a:cubicBezTo>
                <a:cubicBezTo>
                  <a:pt x="173014" y="171450"/>
                  <a:pt x="176213" y="168252"/>
                  <a:pt x="176213" y="164306"/>
                </a:cubicBezTo>
                <a:lnTo>
                  <a:pt x="176213" y="157163"/>
                </a:lnTo>
                <a:lnTo>
                  <a:pt x="200025" y="157163"/>
                </a:lnTo>
                <a:lnTo>
                  <a:pt x="200025" y="176213"/>
                </a:lnTo>
                <a:cubicBezTo>
                  <a:pt x="200025" y="184103"/>
                  <a:pt x="193628" y="190500"/>
                  <a:pt x="185738" y="190500"/>
                </a:cubicBezTo>
                <a:lnTo>
                  <a:pt x="109538" y="190500"/>
                </a:lnTo>
                <a:cubicBezTo>
                  <a:pt x="101647" y="190500"/>
                  <a:pt x="95250" y="184103"/>
                  <a:pt x="95250" y="176213"/>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600" b="1" noProof="0" dirty="0">
              <a:ln w="3175">
                <a:noFill/>
              </a:ln>
              <a:gradFill>
                <a:gsLst>
                  <a:gs pos="76437">
                    <a:srgbClr val="FFFFFF"/>
                  </a:gs>
                  <a:gs pos="55747">
                    <a:srgbClr val="FFFFFF"/>
                  </a:gs>
                </a:gsLst>
                <a:path path="circle">
                  <a:fillToRect l="100000" b="100000"/>
                </a:path>
              </a:gradFill>
              <a:latin typeface="Segoe UI Semibold"/>
              <a:cs typeface="Segoe UI" pitchFamily="34" charset="0"/>
            </a:endParaRPr>
          </a:p>
        </p:txBody>
      </p:sp>
      <p:sp>
        <p:nvSpPr>
          <p:cNvPr id="68" name="Graphic 28" descr="Icon of a circle made of a circular arrow rotating counter-clockwise">
            <a:extLst>
              <a:ext uri="{FF2B5EF4-FFF2-40B4-BE49-F238E27FC236}">
                <a16:creationId xmlns:a16="http://schemas.microsoft.com/office/drawing/2014/main" id="{B320DBA4-ECEB-A92F-7B1C-A76D587F4C23}"/>
              </a:ext>
            </a:extLst>
          </p:cNvPr>
          <p:cNvSpPr>
            <a:spLocks/>
          </p:cNvSpPr>
          <p:nvPr/>
        </p:nvSpPr>
        <p:spPr>
          <a:xfrm>
            <a:off x="8110973" y="4630023"/>
            <a:ext cx="219798" cy="219794"/>
          </a:xfrm>
          <a:custGeom>
            <a:avLst/>
            <a:gdLst>
              <a:gd name="connsiteX0" fmla="*/ 176663 w 353325"/>
              <a:gd name="connsiteY0" fmla="*/ 29444 h 353325"/>
              <a:gd name="connsiteX1" fmla="*/ 323881 w 353325"/>
              <a:gd name="connsiteY1" fmla="*/ 176663 h 353325"/>
              <a:gd name="connsiteX2" fmla="*/ 176663 w 353325"/>
              <a:gd name="connsiteY2" fmla="*/ 323881 h 353325"/>
              <a:gd name="connsiteX3" fmla="*/ 29444 w 353325"/>
              <a:gd name="connsiteY3" fmla="*/ 176663 h 353325"/>
              <a:gd name="connsiteX4" fmla="*/ 31038 w 353325"/>
              <a:gd name="connsiteY4" fmla="*/ 154919 h 353325"/>
              <a:gd name="connsiteX5" fmla="*/ 16824 w 353325"/>
              <a:gd name="connsiteY5" fmla="*/ 137404 h 353325"/>
              <a:gd name="connsiteX6" fmla="*/ 2055 w 353325"/>
              <a:gd name="connsiteY6" fmla="*/ 149629 h 353325"/>
              <a:gd name="connsiteX7" fmla="*/ 0 w 353325"/>
              <a:gd name="connsiteY7" fmla="*/ 176663 h 353325"/>
              <a:gd name="connsiteX8" fmla="*/ 176663 w 353325"/>
              <a:gd name="connsiteY8" fmla="*/ 353325 h 353325"/>
              <a:gd name="connsiteX9" fmla="*/ 353325 w 353325"/>
              <a:gd name="connsiteY9" fmla="*/ 176663 h 353325"/>
              <a:gd name="connsiteX10" fmla="*/ 176663 w 353325"/>
              <a:gd name="connsiteY10" fmla="*/ 0 h 353325"/>
              <a:gd name="connsiteX11" fmla="*/ 58888 w 353325"/>
              <a:gd name="connsiteY11" fmla="*/ 44984 h 353325"/>
              <a:gd name="connsiteX12" fmla="*/ 58888 w 353325"/>
              <a:gd name="connsiteY12" fmla="*/ 24536 h 353325"/>
              <a:gd name="connsiteX13" fmla="*/ 44166 w 353325"/>
              <a:gd name="connsiteY13" fmla="*/ 9815 h 353325"/>
              <a:gd name="connsiteX14" fmla="*/ 29444 w 353325"/>
              <a:gd name="connsiteY14" fmla="*/ 24536 h 353325"/>
              <a:gd name="connsiteX15" fmla="*/ 29444 w 353325"/>
              <a:gd name="connsiteY15" fmla="*/ 83424 h 353325"/>
              <a:gd name="connsiteX16" fmla="*/ 44166 w 353325"/>
              <a:gd name="connsiteY16" fmla="*/ 98146 h 353325"/>
              <a:gd name="connsiteX17" fmla="*/ 103053 w 353325"/>
              <a:gd name="connsiteY17" fmla="*/ 98146 h 353325"/>
              <a:gd name="connsiteX18" fmla="*/ 117775 w 353325"/>
              <a:gd name="connsiteY18" fmla="*/ 83424 h 353325"/>
              <a:gd name="connsiteX19" fmla="*/ 103053 w 353325"/>
              <a:gd name="connsiteY19" fmla="*/ 68702 h 353325"/>
              <a:gd name="connsiteX20" fmla="*/ 76572 w 353325"/>
              <a:gd name="connsiteY20" fmla="*/ 68702 h 353325"/>
              <a:gd name="connsiteX21" fmla="*/ 176663 w 353325"/>
              <a:gd name="connsiteY21" fmla="*/ 29444 h 35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3325" h="353325">
                <a:moveTo>
                  <a:pt x="176663" y="29444"/>
                </a:moveTo>
                <a:cubicBezTo>
                  <a:pt x="257968" y="29444"/>
                  <a:pt x="323881" y="95356"/>
                  <a:pt x="323881" y="176663"/>
                </a:cubicBezTo>
                <a:cubicBezTo>
                  <a:pt x="323881" y="257968"/>
                  <a:pt x="257968" y="323881"/>
                  <a:pt x="176663" y="323881"/>
                </a:cubicBezTo>
                <a:cubicBezTo>
                  <a:pt x="95356" y="323881"/>
                  <a:pt x="29444" y="257968"/>
                  <a:pt x="29444" y="176663"/>
                </a:cubicBezTo>
                <a:cubicBezTo>
                  <a:pt x="29444" y="169274"/>
                  <a:pt x="29988" y="162015"/>
                  <a:pt x="31038" y="154919"/>
                </a:cubicBezTo>
                <a:cubicBezTo>
                  <a:pt x="32358" y="146006"/>
                  <a:pt x="25834" y="137404"/>
                  <a:pt x="16824" y="137404"/>
                </a:cubicBezTo>
                <a:cubicBezTo>
                  <a:pt x="9544" y="137404"/>
                  <a:pt x="3160" y="142433"/>
                  <a:pt x="2055" y="149629"/>
                </a:cubicBezTo>
                <a:cubicBezTo>
                  <a:pt x="702" y="158443"/>
                  <a:pt x="0" y="167470"/>
                  <a:pt x="0" y="176663"/>
                </a:cubicBezTo>
                <a:cubicBezTo>
                  <a:pt x="0" y="274231"/>
                  <a:pt x="79095" y="353325"/>
                  <a:pt x="176663" y="353325"/>
                </a:cubicBezTo>
                <a:cubicBezTo>
                  <a:pt x="274231" y="353325"/>
                  <a:pt x="353325" y="274231"/>
                  <a:pt x="353325" y="176663"/>
                </a:cubicBezTo>
                <a:cubicBezTo>
                  <a:pt x="353325" y="79095"/>
                  <a:pt x="274231" y="0"/>
                  <a:pt x="176663" y="0"/>
                </a:cubicBezTo>
                <a:cubicBezTo>
                  <a:pt x="131416" y="0"/>
                  <a:pt x="90142" y="17010"/>
                  <a:pt x="58888" y="44984"/>
                </a:cubicBezTo>
                <a:lnTo>
                  <a:pt x="58888" y="24536"/>
                </a:lnTo>
                <a:cubicBezTo>
                  <a:pt x="58888" y="16406"/>
                  <a:pt x="52296" y="9815"/>
                  <a:pt x="44166" y="9815"/>
                </a:cubicBezTo>
                <a:cubicBezTo>
                  <a:pt x="36035" y="9815"/>
                  <a:pt x="29444" y="16406"/>
                  <a:pt x="29444" y="24536"/>
                </a:cubicBezTo>
                <a:lnTo>
                  <a:pt x="29444" y="83424"/>
                </a:lnTo>
                <a:cubicBezTo>
                  <a:pt x="29444" y="91555"/>
                  <a:pt x="36035" y="98146"/>
                  <a:pt x="44166" y="98146"/>
                </a:cubicBezTo>
                <a:lnTo>
                  <a:pt x="103053" y="98146"/>
                </a:lnTo>
                <a:cubicBezTo>
                  <a:pt x="111184" y="98146"/>
                  <a:pt x="117775" y="91555"/>
                  <a:pt x="117775" y="83424"/>
                </a:cubicBezTo>
                <a:cubicBezTo>
                  <a:pt x="117775" y="75293"/>
                  <a:pt x="111184" y="68702"/>
                  <a:pt x="103053" y="68702"/>
                </a:cubicBezTo>
                <a:lnTo>
                  <a:pt x="76572" y="68702"/>
                </a:lnTo>
                <a:cubicBezTo>
                  <a:pt x="102839" y="44339"/>
                  <a:pt x="138011" y="29444"/>
                  <a:pt x="176663" y="29444"/>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600" b="1" noProof="0" dirty="0">
              <a:ln w="3175">
                <a:noFill/>
              </a:ln>
              <a:gradFill>
                <a:gsLst>
                  <a:gs pos="76437">
                    <a:srgbClr val="FFFFFF"/>
                  </a:gs>
                  <a:gs pos="55747">
                    <a:srgbClr val="FFFFFF"/>
                  </a:gs>
                </a:gsLst>
                <a:path path="circle">
                  <a:fillToRect l="100000" b="100000"/>
                </a:path>
              </a:gradFill>
              <a:latin typeface="Segoe UI Semibold"/>
              <a:cs typeface="Segoe UI" pitchFamily="34" charset="0"/>
            </a:endParaRPr>
          </a:p>
        </p:txBody>
      </p:sp>
    </p:spTree>
    <p:extLst>
      <p:ext uri="{BB962C8B-B14F-4D97-AF65-F5344CB8AC3E}">
        <p14:creationId xmlns:p14="http://schemas.microsoft.com/office/powerpoint/2010/main" val="160967929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588B92-A959-50F2-1F08-B5A02A70872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F54B146-2B91-B5AD-2723-5551AAF414E5}"/>
              </a:ext>
            </a:extLst>
          </p:cNvPr>
          <p:cNvSpPr>
            <a:spLocks noGrp="1"/>
          </p:cNvSpPr>
          <p:nvPr>
            <p:ph type="title"/>
          </p:nvPr>
        </p:nvSpPr>
        <p:spPr>
          <a:xfrm>
            <a:off x="588263" y="457200"/>
            <a:ext cx="11018520" cy="553998"/>
          </a:xfrm>
        </p:spPr>
        <p:txBody>
          <a:bodyPr/>
          <a:lstStyle/>
          <a:p>
            <a:r>
              <a:rPr lang="en-US" sz="3600" noProof="0" dirty="0">
                <a:latin typeface="Segoe UI Semibold" panose="020B0702040204020203" pitchFamily="34" charset="0"/>
                <a:cs typeface="Segoe UI Semibold" panose="020B0702040204020203" pitchFamily="34" charset="0"/>
              </a:rPr>
              <a:t>KPI – </a:t>
            </a:r>
            <a:r>
              <a:rPr lang="en-US" sz="3600" noProof="0" dirty="0">
                <a:gradFill>
                  <a:gsLst>
                    <a:gs pos="38000">
                      <a:srgbClr val="0078D4"/>
                    </a:gs>
                    <a:gs pos="0">
                      <a:srgbClr val="C03BC4"/>
                    </a:gs>
                  </a:gsLst>
                  <a:path path="circle">
                    <a:fillToRect l="100000" t="100000"/>
                  </a:path>
                </a:gradFill>
                <a:latin typeface="Segoe UI Semibold" panose="020B0702040204020203" pitchFamily="34" charset="0"/>
                <a:cs typeface="Segoe UI Semibold" panose="020B0702040204020203" pitchFamily="34" charset="0"/>
              </a:rPr>
              <a:t>Marketing spend</a:t>
            </a:r>
          </a:p>
        </p:txBody>
      </p:sp>
      <p:sp>
        <p:nvSpPr>
          <p:cNvPr id="7" name="Rectangle: Rounded Corners 81">
            <a:extLst>
              <a:ext uri="{FF2B5EF4-FFF2-40B4-BE49-F238E27FC236}">
                <a16:creationId xmlns:a16="http://schemas.microsoft.com/office/drawing/2014/main" id="{040C7534-039E-FA4F-0D5B-2C2DB5761F7A}"/>
              </a:ext>
              <a:ext uri="{C183D7F6-B498-43B3-948B-1728B52AA6E4}">
                <adec:decorative xmlns:adec="http://schemas.microsoft.com/office/drawing/2017/decorative" val="1"/>
              </a:ext>
            </a:extLst>
          </p:cNvPr>
          <p:cNvSpPr>
            <a:spLocks/>
          </p:cNvSpPr>
          <p:nvPr/>
        </p:nvSpPr>
        <p:spPr bwMode="auto">
          <a:xfrm>
            <a:off x="571500" y="1187448"/>
            <a:ext cx="11017250" cy="5161779"/>
          </a:xfrm>
          <a:prstGeom prst="roundRect">
            <a:avLst>
              <a:gd name="adj" fmla="val 3245"/>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8" name="Rounded Rectangle 53">
            <a:extLst>
              <a:ext uri="{FF2B5EF4-FFF2-40B4-BE49-F238E27FC236}">
                <a16:creationId xmlns:a16="http://schemas.microsoft.com/office/drawing/2014/main" id="{B3D8DA91-EFDF-2551-FD23-DB0464DCA07E}"/>
              </a:ext>
            </a:extLst>
          </p:cNvPr>
          <p:cNvSpPr>
            <a:spLocks/>
          </p:cNvSpPr>
          <p:nvPr/>
        </p:nvSpPr>
        <p:spPr bwMode="auto">
          <a:xfrm>
            <a:off x="662940" y="4061815"/>
            <a:ext cx="5670614" cy="2195972"/>
          </a:xfrm>
          <a:prstGeom prst="roundRect">
            <a:avLst>
              <a:gd name="adj" fmla="val 4803"/>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w="3175">
                  <a:noFill/>
                </a:ln>
                <a:gradFill flip="none" rotWithShape="1">
                  <a:gsLst>
                    <a:gs pos="51000">
                      <a:srgbClr val="0078D4"/>
                    </a:gs>
                    <a:gs pos="0">
                      <a:srgbClr val="C03BC4"/>
                    </a:gs>
                  </a:gsLst>
                  <a:lin ang="13500000" scaled="1"/>
                  <a:tileRect/>
                </a:gradFill>
                <a:effectLst/>
                <a:uLnTx/>
                <a:uFillTx/>
                <a:latin typeface="Segoe UI Semibold"/>
                <a:ea typeface="+mn-ea"/>
                <a:cs typeface="Segoe UI" pitchFamily="34" charset="0"/>
              </a:rPr>
              <a:t>How AI can help reduce marketing spend</a:t>
            </a:r>
          </a:p>
        </p:txBody>
      </p:sp>
      <p:sp>
        <p:nvSpPr>
          <p:cNvPr id="9" name="Rectangle: Rounded Corners 8">
            <a:extLst>
              <a:ext uri="{FF2B5EF4-FFF2-40B4-BE49-F238E27FC236}">
                <a16:creationId xmlns:a16="http://schemas.microsoft.com/office/drawing/2014/main" id="{2D18D073-9C77-6892-3E28-53EB140C2A97}"/>
              </a:ext>
            </a:extLst>
          </p:cNvPr>
          <p:cNvSpPr/>
          <p:nvPr/>
        </p:nvSpPr>
        <p:spPr bwMode="auto">
          <a:xfrm>
            <a:off x="763523" y="4526250"/>
            <a:ext cx="2603689" cy="337850"/>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6576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flip="none" rotWithShape="1">
                  <a:gsLst>
                    <a:gs pos="51000">
                      <a:srgbClr val="0078D4"/>
                    </a:gs>
                    <a:gs pos="0">
                      <a:srgbClr val="C03BC4"/>
                    </a:gs>
                  </a:gsLst>
                  <a:lin ang="13500000" scaled="1"/>
                  <a:tileRect/>
                </a:gradFill>
                <a:effectLst/>
                <a:uLnTx/>
                <a:uFillTx/>
                <a:latin typeface="Segoe UI Semibold"/>
                <a:ea typeface="+mn-ea"/>
                <a:cs typeface="Segoe UI Semilight"/>
              </a:rPr>
              <a:t>Inform market research </a:t>
            </a:r>
          </a:p>
        </p:txBody>
      </p:sp>
      <p:sp>
        <p:nvSpPr>
          <p:cNvPr id="10" name="Rectangle: Rounded Corners 9">
            <a:extLst>
              <a:ext uri="{FF2B5EF4-FFF2-40B4-BE49-F238E27FC236}">
                <a16:creationId xmlns:a16="http://schemas.microsoft.com/office/drawing/2014/main" id="{D53F272B-0795-6D3F-8C53-EE7D2A9C51C5}"/>
              </a:ext>
            </a:extLst>
          </p:cNvPr>
          <p:cNvSpPr/>
          <p:nvPr/>
        </p:nvSpPr>
        <p:spPr bwMode="auto">
          <a:xfrm>
            <a:off x="3629283" y="4504737"/>
            <a:ext cx="2603689" cy="476726"/>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flip="none" rotWithShape="1">
                  <a:gsLst>
                    <a:gs pos="51000">
                      <a:srgbClr val="0078D4"/>
                    </a:gs>
                    <a:gs pos="0">
                      <a:srgbClr val="C03BC4"/>
                    </a:gs>
                  </a:gsLst>
                  <a:lin ang="13500000" scaled="1"/>
                  <a:tileRect/>
                </a:gradFill>
                <a:effectLst/>
                <a:uLnTx/>
                <a:uFillTx/>
                <a:latin typeface="Segoe UI Semibold"/>
                <a:ea typeface="+mn-ea"/>
                <a:cs typeface="Segoe UI Semilight"/>
              </a:rPr>
              <a:t>Improve quality of marketing materials</a:t>
            </a:r>
          </a:p>
        </p:txBody>
      </p:sp>
      <p:pic>
        <p:nvPicPr>
          <p:cNvPr id="12" name="Picture 11" descr="Photo of sales meeting">
            <a:extLst>
              <a:ext uri="{FF2B5EF4-FFF2-40B4-BE49-F238E27FC236}">
                <a16:creationId xmlns:a16="http://schemas.microsoft.com/office/drawing/2014/main" id="{6BA0601B-3AE0-7428-D462-D755E73C5AC7}"/>
              </a:ext>
            </a:extLst>
          </p:cNvPr>
          <p:cNvPicPr>
            <a:picLocks/>
          </p:cNvPicPr>
          <p:nvPr/>
        </p:nvPicPr>
        <p:blipFill rotWithShape="1">
          <a:blip r:embed="rId2" cstate="screen">
            <a:extLst>
              <a:ext uri="{28A0092B-C50C-407E-A947-70E740481C1C}">
                <a14:useLocalDpi xmlns:a14="http://schemas.microsoft.com/office/drawing/2010/main"/>
              </a:ext>
            </a:extLst>
          </a:blip>
          <a:srcRect l="19173" r="10691"/>
          <a:stretch/>
        </p:blipFill>
        <p:spPr>
          <a:xfrm>
            <a:off x="662939" y="1278888"/>
            <a:ext cx="5670614" cy="1908701"/>
          </a:xfrm>
          <a:prstGeom prst="roundRect">
            <a:avLst>
              <a:gd name="adj" fmla="val 5305"/>
            </a:avLst>
          </a:prstGeom>
          <a:solidFill>
            <a:schemeClr val="bg1">
              <a:alpha val="70000"/>
            </a:schemeClr>
          </a:solidFill>
          <a:ln w="6350">
            <a:solidFill>
              <a:schemeClr val="bg1">
                <a:lumMod val="95000"/>
              </a:schemeClr>
            </a:solidFill>
          </a:ln>
          <a:effectLst/>
        </p:spPr>
      </p:pic>
      <p:sp>
        <p:nvSpPr>
          <p:cNvPr id="13" name="Text Placeholder 33">
            <a:extLst>
              <a:ext uri="{FF2B5EF4-FFF2-40B4-BE49-F238E27FC236}">
                <a16:creationId xmlns:a16="http://schemas.microsoft.com/office/drawing/2014/main" id="{7F9576BB-1CF8-4669-B6BC-203607D63317}"/>
              </a:ext>
            </a:extLst>
          </p:cNvPr>
          <p:cNvSpPr txBox="1">
            <a:spLocks/>
          </p:cNvSpPr>
          <p:nvPr/>
        </p:nvSpPr>
        <p:spPr>
          <a:xfrm>
            <a:off x="662939" y="3274895"/>
            <a:ext cx="5670614" cy="738664"/>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Revenue per store (or revenue per square foot) is a crucial metric that Retailers use to evaluate the financial performance of their stores. By measuring the amount of revenue generated per unit of selling space, retailers can assess the effectiveness of their store layout, product assortment, and overall business strategy.</a:t>
            </a:r>
          </a:p>
        </p:txBody>
      </p:sp>
      <p:sp>
        <p:nvSpPr>
          <p:cNvPr id="14" name="TextBox 13">
            <a:extLst>
              <a:ext uri="{FF2B5EF4-FFF2-40B4-BE49-F238E27FC236}">
                <a16:creationId xmlns:a16="http://schemas.microsoft.com/office/drawing/2014/main" id="{BC8FD88D-B27B-69D5-1C26-4E6853C50C2C}"/>
              </a:ext>
            </a:extLst>
          </p:cNvPr>
          <p:cNvSpPr txBox="1"/>
          <p:nvPr/>
        </p:nvSpPr>
        <p:spPr>
          <a:xfrm>
            <a:off x="763523" y="4959950"/>
            <a:ext cx="2603689" cy="661720"/>
          </a:xfrm>
          <a:prstGeom prst="rect">
            <a:avLst/>
          </a:prstGeom>
          <a:noFill/>
        </p:spPr>
        <p:txBody>
          <a:bodyPr wrap="square" lIns="0" tIns="0" rIns="0" bIns="0">
            <a:spAutoFit/>
          </a:bodyPr>
          <a:lstStyle/>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dirty="0">
                <a:solidFill>
                  <a:srgbClr val="000000"/>
                </a:solidFill>
                <a:latin typeface="Segoe UI"/>
                <a:cs typeface="Segoe UI" panose="020B0502040204020203" pitchFamily="34" charset="0"/>
              </a:rPr>
              <a:t>Analyze campaign feedback</a:t>
            </a:r>
            <a:endParaRPr kumimoji="0" lang="en-US"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Run personalized campaigns</a:t>
            </a:r>
          </a:p>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Improve audience segmentation</a:t>
            </a:r>
          </a:p>
        </p:txBody>
      </p:sp>
      <p:sp>
        <p:nvSpPr>
          <p:cNvPr id="15" name="TextBox 14">
            <a:extLst>
              <a:ext uri="{FF2B5EF4-FFF2-40B4-BE49-F238E27FC236}">
                <a16:creationId xmlns:a16="http://schemas.microsoft.com/office/drawing/2014/main" id="{F56D419F-7683-4AAD-B6CE-0CD07628D84A}"/>
              </a:ext>
            </a:extLst>
          </p:cNvPr>
          <p:cNvSpPr txBox="1"/>
          <p:nvPr/>
        </p:nvSpPr>
        <p:spPr>
          <a:xfrm>
            <a:off x="3629283" y="5075302"/>
            <a:ext cx="2603689" cy="1000274"/>
          </a:xfrm>
          <a:prstGeom prst="rect">
            <a:avLst/>
          </a:prstGeom>
          <a:noFill/>
        </p:spPr>
        <p:txBody>
          <a:bodyPr wrap="square" lIns="0" tIns="0" rIns="0" bIns="0">
            <a:spAutoFit/>
          </a:bodyPr>
          <a:lstStyle/>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Improve marketing content with clear value propositions</a:t>
            </a:r>
          </a:p>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dirty="0">
                <a:solidFill>
                  <a:srgbClr val="000000"/>
                </a:solidFill>
                <a:latin typeface="Segoe UI"/>
                <a:cs typeface="Segoe UI" panose="020B0502040204020203" pitchFamily="34" charset="0"/>
              </a:rPr>
              <a:t>Reduce spend on agencies for content creation</a:t>
            </a:r>
          </a:p>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dirty="0">
                <a:solidFill>
                  <a:srgbClr val="000000"/>
                </a:solidFill>
                <a:latin typeface="Segoe UI"/>
                <a:cs typeface="Segoe UI" panose="020B0502040204020203" pitchFamily="34" charset="0"/>
              </a:rPr>
              <a:t>Social media posting and analysis</a:t>
            </a:r>
            <a:endParaRPr kumimoji="0" lang="en-US"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p:txBody>
      </p:sp>
      <p:sp>
        <p:nvSpPr>
          <p:cNvPr id="20" name="Rounded Rectangle 53">
            <a:extLst>
              <a:ext uri="{FF2B5EF4-FFF2-40B4-BE49-F238E27FC236}">
                <a16:creationId xmlns:a16="http://schemas.microsoft.com/office/drawing/2014/main" id="{A016881A-595E-109C-2C00-134ACE34F557}"/>
              </a:ext>
            </a:extLst>
          </p:cNvPr>
          <p:cNvSpPr>
            <a:spLocks/>
          </p:cNvSpPr>
          <p:nvPr/>
        </p:nvSpPr>
        <p:spPr bwMode="auto">
          <a:xfrm>
            <a:off x="6424994" y="1278888"/>
            <a:ext cx="5072316" cy="4978899"/>
          </a:xfrm>
          <a:prstGeom prst="roundRect">
            <a:avLst>
              <a:gd name="adj" fmla="val 2006"/>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flip="none" rotWithShape="1">
                <a:gsLst>
                  <a:gs pos="37000">
                    <a:srgbClr val="0078D4"/>
                  </a:gs>
                  <a:gs pos="100000">
                    <a:srgbClr val="C03BC4"/>
                  </a:gs>
                </a:gsLst>
                <a:path path="circle">
                  <a:fillToRect r="100000" b="100000"/>
                </a:path>
                <a:tileRect l="-100000" t="-100000"/>
              </a:gradFill>
              <a:effectLst/>
              <a:uLnTx/>
              <a:uFillTx/>
              <a:latin typeface="Segoe UI Semibold"/>
              <a:ea typeface="+mn-ea"/>
              <a:cs typeface="+mn-cs"/>
            </a:endParaRPr>
          </a:p>
        </p:txBody>
      </p:sp>
      <p:sp>
        <p:nvSpPr>
          <p:cNvPr id="21" name="Rectangle: Rounded Corners 20">
            <a:extLst>
              <a:ext uri="{FF2B5EF4-FFF2-40B4-BE49-F238E27FC236}">
                <a16:creationId xmlns:a16="http://schemas.microsoft.com/office/drawing/2014/main" id="{BF4F0262-04AC-048A-784E-B795CE3084A8}"/>
              </a:ext>
            </a:extLst>
          </p:cNvPr>
          <p:cNvSpPr>
            <a:spLocks/>
          </p:cNvSpPr>
          <p:nvPr/>
        </p:nvSpPr>
        <p:spPr bwMode="auto">
          <a:xfrm>
            <a:off x="6527800" y="1370328"/>
            <a:ext cx="4866704" cy="401322"/>
          </a:xfrm>
          <a:prstGeom prst="roundRect">
            <a:avLst>
              <a:gd name="adj" fmla="val 2072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flip="none" rotWithShape="1">
                  <a:gsLst>
                    <a:gs pos="0">
                      <a:srgbClr val="C03BC4"/>
                    </a:gs>
                    <a:gs pos="56000">
                      <a:srgbClr val="0078D4"/>
                    </a:gs>
                  </a:gsLst>
                  <a:lin ang="13500000" scaled="1"/>
                  <a:tileRect/>
                </a:gradFill>
                <a:effectLst/>
                <a:uLnTx/>
                <a:uFillTx/>
                <a:latin typeface="Segoe UI Semibold"/>
                <a:ea typeface="+mn-ea"/>
                <a:cs typeface="Segoe UI Semilight"/>
              </a:rPr>
              <a:t>Value Calculation</a:t>
            </a:r>
          </a:p>
        </p:txBody>
      </p:sp>
      <p:sp>
        <p:nvSpPr>
          <p:cNvPr id="22" name="TextBox 21">
            <a:extLst>
              <a:ext uri="{FF2B5EF4-FFF2-40B4-BE49-F238E27FC236}">
                <a16:creationId xmlns:a16="http://schemas.microsoft.com/office/drawing/2014/main" id="{C3ADDF13-429E-E1B8-9566-D47C17684FBC}"/>
              </a:ext>
            </a:extLst>
          </p:cNvPr>
          <p:cNvSpPr txBox="1">
            <a:spLocks/>
          </p:cNvSpPr>
          <p:nvPr/>
        </p:nvSpPr>
        <p:spPr>
          <a:xfrm>
            <a:off x="6528482" y="1924744"/>
            <a:ext cx="4865340" cy="415498"/>
          </a:xfrm>
          <a:prstGeom prst="rect">
            <a:avLst/>
          </a:prstGeom>
          <a:noFill/>
        </p:spPr>
        <p:txBody>
          <a:bodyPr wrap="square" lIns="0" tIns="0" rIns="0" bIns="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Marketing budgets are often set as a percentage of revenu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dirty="0">
                <a:solidFill>
                  <a:srgbClr val="000000"/>
                </a:solidFill>
                <a:latin typeface="Segoe UI" panose="020B0502040204020203" pitchFamily="34" charset="0"/>
                <a:cs typeface="Segoe UI" panose="020B0502040204020203" pitchFamily="34" charset="0"/>
              </a:rPr>
              <a:t>Decreasing that percentage can lead to improved margins.</a:t>
            </a:r>
            <a:endParaRPr kumimoji="0" lang="en-US" sz="11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23" name="Graphic 40">
            <a:extLst>
              <a:ext uri="{FF2B5EF4-FFF2-40B4-BE49-F238E27FC236}">
                <a16:creationId xmlns:a16="http://schemas.microsoft.com/office/drawing/2014/main" id="{82974BBA-D44E-E0B6-EA2D-37E0B1465175}"/>
              </a:ext>
            </a:extLst>
          </p:cNvPr>
          <p:cNvSpPr/>
          <p:nvPr/>
        </p:nvSpPr>
        <p:spPr>
          <a:xfrm>
            <a:off x="6610350" y="1476092"/>
            <a:ext cx="210860" cy="189794"/>
          </a:xfrm>
          <a:custGeom>
            <a:avLst/>
            <a:gdLst>
              <a:gd name="connsiteX0" fmla="*/ 152390 w 190480"/>
              <a:gd name="connsiteY0" fmla="*/ 0 h 171450"/>
              <a:gd name="connsiteX1" fmla="*/ 158153 w 190480"/>
              <a:gd name="connsiteY1" fmla="*/ 2915 h 171450"/>
              <a:gd name="connsiteX2" fmla="*/ 158677 w 190480"/>
              <a:gd name="connsiteY2" fmla="*/ 3743 h 171450"/>
              <a:gd name="connsiteX3" fmla="*/ 189757 w 190480"/>
              <a:gd name="connsiteY3" fmla="*/ 61160 h 171450"/>
              <a:gd name="connsiteX4" fmla="*/ 190119 w 190480"/>
              <a:gd name="connsiteY4" fmla="*/ 62046 h 171450"/>
              <a:gd name="connsiteX5" fmla="*/ 190233 w 190480"/>
              <a:gd name="connsiteY5" fmla="*/ 62427 h 171450"/>
              <a:gd name="connsiteX6" fmla="*/ 190424 w 190480"/>
              <a:gd name="connsiteY6" fmla="*/ 63398 h 171450"/>
              <a:gd name="connsiteX7" fmla="*/ 190481 w 190480"/>
              <a:gd name="connsiteY7" fmla="*/ 64294 h 171450"/>
              <a:gd name="connsiteX8" fmla="*/ 190224 w 190480"/>
              <a:gd name="connsiteY8" fmla="*/ 66199 h 171450"/>
              <a:gd name="connsiteX9" fmla="*/ 189776 w 190480"/>
              <a:gd name="connsiteY9" fmla="*/ 67389 h 171450"/>
              <a:gd name="connsiteX10" fmla="*/ 189414 w 190480"/>
              <a:gd name="connsiteY10" fmla="*/ 68047 h 171450"/>
              <a:gd name="connsiteX11" fmla="*/ 188700 w 190480"/>
              <a:gd name="connsiteY11" fmla="*/ 69018 h 171450"/>
              <a:gd name="connsiteX12" fmla="*/ 189271 w 190480"/>
              <a:gd name="connsiteY12" fmla="*/ 68275 h 171450"/>
              <a:gd name="connsiteX13" fmla="*/ 189033 w 190480"/>
              <a:gd name="connsiteY13" fmla="*/ 68609 h 171450"/>
              <a:gd name="connsiteX14" fmla="*/ 100927 w 190480"/>
              <a:gd name="connsiteY14" fmla="*/ 168669 h 171450"/>
              <a:gd name="connsiteX15" fmla="*/ 98098 w 190480"/>
              <a:gd name="connsiteY15" fmla="*/ 170879 h 171450"/>
              <a:gd name="connsiteX16" fmla="*/ 97165 w 190480"/>
              <a:gd name="connsiteY16" fmla="*/ 171193 h 171450"/>
              <a:gd name="connsiteX17" fmla="*/ 96422 w 190480"/>
              <a:gd name="connsiteY17" fmla="*/ 171355 h 171450"/>
              <a:gd name="connsiteX18" fmla="*/ 95250 w 190480"/>
              <a:gd name="connsiteY18" fmla="*/ 171450 h 171450"/>
              <a:gd name="connsiteX19" fmla="*/ 94298 w 190480"/>
              <a:gd name="connsiteY19" fmla="*/ 171393 h 171450"/>
              <a:gd name="connsiteX20" fmla="*/ 93174 w 190480"/>
              <a:gd name="connsiteY20" fmla="*/ 171145 h 171450"/>
              <a:gd name="connsiteX21" fmla="*/ 91516 w 190480"/>
              <a:gd name="connsiteY21" fmla="*/ 170421 h 171450"/>
              <a:gd name="connsiteX22" fmla="*/ 91430 w 190480"/>
              <a:gd name="connsiteY22" fmla="*/ 170355 h 171450"/>
              <a:gd name="connsiteX23" fmla="*/ 90192 w 190480"/>
              <a:gd name="connsiteY23" fmla="*/ 169364 h 171450"/>
              <a:gd name="connsiteX24" fmla="*/ 1705 w 190480"/>
              <a:gd name="connsiteY24" fmla="*/ 68913 h 171450"/>
              <a:gd name="connsiteX25" fmla="*/ 1457 w 190480"/>
              <a:gd name="connsiteY25" fmla="*/ 68609 h 171450"/>
              <a:gd name="connsiteX26" fmla="*/ 1076 w 190480"/>
              <a:gd name="connsiteY26" fmla="*/ 68047 h 171450"/>
              <a:gd name="connsiteX27" fmla="*/ 67 w 190480"/>
              <a:gd name="connsiteY27" fmla="*/ 65180 h 171450"/>
              <a:gd name="connsiteX28" fmla="*/ 0 w 190480"/>
              <a:gd name="connsiteY28" fmla="*/ 64294 h 171450"/>
              <a:gd name="connsiteX29" fmla="*/ 29 w 190480"/>
              <a:gd name="connsiteY29" fmla="*/ 63665 h 171450"/>
              <a:gd name="connsiteX30" fmla="*/ 152 w 190480"/>
              <a:gd name="connsiteY30" fmla="*/ 62817 h 171450"/>
              <a:gd name="connsiteX31" fmla="*/ 381 w 190480"/>
              <a:gd name="connsiteY31" fmla="*/ 61998 h 171450"/>
              <a:gd name="connsiteX32" fmla="*/ 591 w 190480"/>
              <a:gd name="connsiteY32" fmla="*/ 61436 h 171450"/>
              <a:gd name="connsiteX33" fmla="*/ 857 w 190480"/>
              <a:gd name="connsiteY33" fmla="*/ 60893 h 171450"/>
              <a:gd name="connsiteX34" fmla="*/ 31814 w 190480"/>
              <a:gd name="connsiteY34" fmla="*/ 3743 h 171450"/>
              <a:gd name="connsiteX35" fmla="*/ 37119 w 190480"/>
              <a:gd name="connsiteY35" fmla="*/ 67 h 171450"/>
              <a:gd name="connsiteX36" fmla="*/ 38090 w 190480"/>
              <a:gd name="connsiteY36" fmla="*/ 0 h 171450"/>
              <a:gd name="connsiteX37" fmla="*/ 152390 w 190480"/>
              <a:gd name="connsiteY37" fmla="*/ 0 h 171450"/>
              <a:gd name="connsiteX38" fmla="*/ 123796 w 190480"/>
              <a:gd name="connsiteY38" fmla="*/ 71438 h 171450"/>
              <a:gd name="connsiteX39" fmla="*/ 66656 w 190480"/>
              <a:gd name="connsiteY39" fmla="*/ 71438 h 171450"/>
              <a:gd name="connsiteX40" fmla="*/ 95231 w 190480"/>
              <a:gd name="connsiteY40" fmla="*/ 144656 h 171450"/>
              <a:gd name="connsiteX41" fmla="*/ 123796 w 190480"/>
              <a:gd name="connsiteY41" fmla="*/ 71438 h 171450"/>
              <a:gd name="connsiteX42" fmla="*/ 51330 w 190480"/>
              <a:gd name="connsiteY42" fmla="*/ 71438 h 171450"/>
              <a:gd name="connsiteX43" fmla="*/ 22946 w 190480"/>
              <a:gd name="connsiteY43" fmla="*/ 71438 h 171450"/>
              <a:gd name="connsiteX44" fmla="*/ 73914 w 190480"/>
              <a:gd name="connsiteY44" fmla="*/ 129292 h 171450"/>
              <a:gd name="connsiteX45" fmla="*/ 51330 w 190480"/>
              <a:gd name="connsiteY45" fmla="*/ 71438 h 171450"/>
              <a:gd name="connsiteX46" fmla="*/ 167516 w 190480"/>
              <a:gd name="connsiteY46" fmla="*/ 71438 h 171450"/>
              <a:gd name="connsiteX47" fmla="*/ 139141 w 190480"/>
              <a:gd name="connsiteY47" fmla="*/ 71438 h 171450"/>
              <a:gd name="connsiteX48" fmla="*/ 116586 w 190480"/>
              <a:gd name="connsiteY48" fmla="*/ 129254 h 171450"/>
              <a:gd name="connsiteX49" fmla="*/ 167516 w 190480"/>
              <a:gd name="connsiteY49" fmla="*/ 71438 h 171450"/>
              <a:gd name="connsiteX50" fmla="*/ 66399 w 190480"/>
              <a:gd name="connsiteY50" fmla="*/ 14288 h 171450"/>
              <a:gd name="connsiteX51" fmla="*/ 42339 w 190480"/>
              <a:gd name="connsiteY51" fmla="*/ 14288 h 171450"/>
              <a:gd name="connsiteX52" fmla="*/ 19117 w 190480"/>
              <a:gd name="connsiteY52" fmla="*/ 57150 h 171450"/>
              <a:gd name="connsiteX53" fmla="*/ 52683 w 190480"/>
              <a:gd name="connsiteY53" fmla="*/ 57150 h 171450"/>
              <a:gd name="connsiteX54" fmla="*/ 66399 w 190480"/>
              <a:gd name="connsiteY54" fmla="*/ 14288 h 171450"/>
              <a:gd name="connsiteX55" fmla="*/ 109071 w 190480"/>
              <a:gd name="connsiteY55" fmla="*/ 14288 h 171450"/>
              <a:gd name="connsiteX56" fmla="*/ 81401 w 190480"/>
              <a:gd name="connsiteY56" fmla="*/ 14288 h 171450"/>
              <a:gd name="connsiteX57" fmla="*/ 67675 w 190480"/>
              <a:gd name="connsiteY57" fmla="*/ 57150 h 171450"/>
              <a:gd name="connsiteX58" fmla="*/ 122777 w 190480"/>
              <a:gd name="connsiteY58" fmla="*/ 57150 h 171450"/>
              <a:gd name="connsiteX59" fmla="*/ 109061 w 190480"/>
              <a:gd name="connsiteY59" fmla="*/ 14288 h 171450"/>
              <a:gd name="connsiteX60" fmla="*/ 148123 w 190480"/>
              <a:gd name="connsiteY60" fmla="*/ 14288 h 171450"/>
              <a:gd name="connsiteX61" fmla="*/ 124073 w 190480"/>
              <a:gd name="connsiteY61" fmla="*/ 14288 h 171450"/>
              <a:gd name="connsiteX62" fmla="*/ 137789 w 190480"/>
              <a:gd name="connsiteY62" fmla="*/ 57150 h 171450"/>
              <a:gd name="connsiteX63" fmla="*/ 171336 w 190480"/>
              <a:gd name="connsiteY63" fmla="*/ 57150 h 171450"/>
              <a:gd name="connsiteX64" fmla="*/ 148133 w 190480"/>
              <a:gd name="connsiteY64" fmla="*/ 14288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90480" h="171450">
                <a:moveTo>
                  <a:pt x="152390" y="0"/>
                </a:moveTo>
                <a:cubicBezTo>
                  <a:pt x="154666" y="-2"/>
                  <a:pt x="156806" y="1081"/>
                  <a:pt x="158153" y="2915"/>
                </a:cubicBezTo>
                <a:lnTo>
                  <a:pt x="158677" y="3743"/>
                </a:lnTo>
                <a:lnTo>
                  <a:pt x="189757" y="61160"/>
                </a:lnTo>
                <a:lnTo>
                  <a:pt x="190119" y="62046"/>
                </a:lnTo>
                <a:lnTo>
                  <a:pt x="190233" y="62427"/>
                </a:lnTo>
                <a:lnTo>
                  <a:pt x="190424" y="63398"/>
                </a:lnTo>
                <a:lnTo>
                  <a:pt x="190481" y="64294"/>
                </a:lnTo>
                <a:cubicBezTo>
                  <a:pt x="190482" y="64937"/>
                  <a:pt x="190395" y="65578"/>
                  <a:pt x="190224" y="66199"/>
                </a:cubicBezTo>
                <a:lnTo>
                  <a:pt x="189776" y="67389"/>
                </a:lnTo>
                <a:lnTo>
                  <a:pt x="189414" y="68047"/>
                </a:lnTo>
                <a:cubicBezTo>
                  <a:pt x="189204" y="68390"/>
                  <a:pt x="188965" y="68715"/>
                  <a:pt x="188700" y="69018"/>
                </a:cubicBezTo>
                <a:lnTo>
                  <a:pt x="189271" y="68275"/>
                </a:lnTo>
                <a:lnTo>
                  <a:pt x="189033" y="68609"/>
                </a:lnTo>
                <a:lnTo>
                  <a:pt x="100927" y="168669"/>
                </a:lnTo>
                <a:cubicBezTo>
                  <a:pt x="100195" y="169642"/>
                  <a:pt x="99219" y="170404"/>
                  <a:pt x="98098" y="170879"/>
                </a:cubicBezTo>
                <a:lnTo>
                  <a:pt x="97165" y="171193"/>
                </a:lnTo>
                <a:lnTo>
                  <a:pt x="96422" y="171355"/>
                </a:lnTo>
                <a:lnTo>
                  <a:pt x="95250" y="171450"/>
                </a:lnTo>
                <a:lnTo>
                  <a:pt x="94298" y="171393"/>
                </a:lnTo>
                <a:lnTo>
                  <a:pt x="93174" y="171145"/>
                </a:lnTo>
                <a:cubicBezTo>
                  <a:pt x="92592" y="170979"/>
                  <a:pt x="92034" y="170735"/>
                  <a:pt x="91516" y="170421"/>
                </a:cubicBezTo>
                <a:lnTo>
                  <a:pt x="91430" y="170355"/>
                </a:lnTo>
                <a:cubicBezTo>
                  <a:pt x="90978" y="170077"/>
                  <a:pt x="90563" y="169744"/>
                  <a:pt x="90192" y="169364"/>
                </a:cubicBezTo>
                <a:lnTo>
                  <a:pt x="1705" y="68913"/>
                </a:lnTo>
                <a:lnTo>
                  <a:pt x="1457" y="68609"/>
                </a:lnTo>
                <a:lnTo>
                  <a:pt x="1076" y="68047"/>
                </a:lnTo>
                <a:cubicBezTo>
                  <a:pt x="537" y="67175"/>
                  <a:pt x="192" y="66197"/>
                  <a:pt x="67" y="65180"/>
                </a:cubicBezTo>
                <a:lnTo>
                  <a:pt x="0" y="64294"/>
                </a:lnTo>
                <a:lnTo>
                  <a:pt x="29" y="63665"/>
                </a:lnTo>
                <a:lnTo>
                  <a:pt x="152" y="62817"/>
                </a:lnTo>
                <a:cubicBezTo>
                  <a:pt x="212" y="62540"/>
                  <a:pt x="288" y="62266"/>
                  <a:pt x="381" y="61998"/>
                </a:cubicBezTo>
                <a:lnTo>
                  <a:pt x="591" y="61436"/>
                </a:lnTo>
                <a:lnTo>
                  <a:pt x="857" y="60893"/>
                </a:lnTo>
                <a:lnTo>
                  <a:pt x="31814" y="3743"/>
                </a:lnTo>
                <a:cubicBezTo>
                  <a:pt x="32896" y="1743"/>
                  <a:pt x="34866" y="378"/>
                  <a:pt x="37119" y="67"/>
                </a:cubicBezTo>
                <a:lnTo>
                  <a:pt x="38090" y="0"/>
                </a:lnTo>
                <a:lnTo>
                  <a:pt x="152390" y="0"/>
                </a:lnTo>
                <a:close/>
                <a:moveTo>
                  <a:pt x="123796" y="71438"/>
                </a:moveTo>
                <a:lnTo>
                  <a:pt x="66656" y="71438"/>
                </a:lnTo>
                <a:lnTo>
                  <a:pt x="95231" y="144656"/>
                </a:lnTo>
                <a:lnTo>
                  <a:pt x="123796" y="71438"/>
                </a:lnTo>
                <a:close/>
                <a:moveTo>
                  <a:pt x="51330" y="71438"/>
                </a:moveTo>
                <a:lnTo>
                  <a:pt x="22946" y="71438"/>
                </a:lnTo>
                <a:lnTo>
                  <a:pt x="73914" y="129292"/>
                </a:lnTo>
                <a:lnTo>
                  <a:pt x="51330" y="71438"/>
                </a:lnTo>
                <a:close/>
                <a:moveTo>
                  <a:pt x="167516" y="71438"/>
                </a:moveTo>
                <a:lnTo>
                  <a:pt x="139141" y="71438"/>
                </a:lnTo>
                <a:lnTo>
                  <a:pt x="116586" y="129254"/>
                </a:lnTo>
                <a:lnTo>
                  <a:pt x="167516" y="71438"/>
                </a:lnTo>
                <a:close/>
                <a:moveTo>
                  <a:pt x="66399" y="14288"/>
                </a:moveTo>
                <a:lnTo>
                  <a:pt x="42339" y="14288"/>
                </a:lnTo>
                <a:lnTo>
                  <a:pt x="19117" y="57150"/>
                </a:lnTo>
                <a:lnTo>
                  <a:pt x="52683" y="57150"/>
                </a:lnTo>
                <a:lnTo>
                  <a:pt x="66399" y="14288"/>
                </a:lnTo>
                <a:close/>
                <a:moveTo>
                  <a:pt x="109071" y="14288"/>
                </a:moveTo>
                <a:lnTo>
                  <a:pt x="81401" y="14288"/>
                </a:lnTo>
                <a:lnTo>
                  <a:pt x="67675" y="57150"/>
                </a:lnTo>
                <a:lnTo>
                  <a:pt x="122777" y="57150"/>
                </a:lnTo>
                <a:lnTo>
                  <a:pt x="109061" y="14288"/>
                </a:lnTo>
                <a:close/>
                <a:moveTo>
                  <a:pt x="148123" y="14288"/>
                </a:moveTo>
                <a:lnTo>
                  <a:pt x="124073" y="14288"/>
                </a:lnTo>
                <a:lnTo>
                  <a:pt x="137789" y="57150"/>
                </a:lnTo>
                <a:lnTo>
                  <a:pt x="171336" y="57150"/>
                </a:lnTo>
                <a:lnTo>
                  <a:pt x="148133" y="14288"/>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25" name="Graphic 99" descr="Icon of a puzzle piece">
            <a:extLst>
              <a:ext uri="{FF2B5EF4-FFF2-40B4-BE49-F238E27FC236}">
                <a16:creationId xmlns:a16="http://schemas.microsoft.com/office/drawing/2014/main" id="{8CE3BE3B-B416-2B8F-DF29-F4B2C14870E7}"/>
              </a:ext>
            </a:extLst>
          </p:cNvPr>
          <p:cNvSpPr/>
          <p:nvPr/>
        </p:nvSpPr>
        <p:spPr>
          <a:xfrm>
            <a:off x="855010" y="4599639"/>
            <a:ext cx="159404" cy="187616"/>
          </a:xfrm>
          <a:custGeom>
            <a:avLst/>
            <a:gdLst>
              <a:gd name="connsiteX0" fmla="*/ 151509 w 257696"/>
              <a:gd name="connsiteY0" fmla="*/ 0 h 303303"/>
              <a:gd name="connsiteX1" fmla="*/ 196928 w 257696"/>
              <a:gd name="connsiteY1" fmla="*/ 42764 h 303303"/>
              <a:gd name="connsiteX2" fmla="*/ 197003 w 257696"/>
              <a:gd name="connsiteY2" fmla="*/ 45429 h 303303"/>
              <a:gd name="connsiteX3" fmla="*/ 231149 w 257696"/>
              <a:gd name="connsiteY3" fmla="*/ 45444 h 303303"/>
              <a:gd name="connsiteX4" fmla="*/ 257330 w 257696"/>
              <a:gd name="connsiteY4" fmla="*/ 67570 h 303303"/>
              <a:gd name="connsiteX5" fmla="*/ 257608 w 257696"/>
              <a:gd name="connsiteY5" fmla="*/ 69816 h 303303"/>
              <a:gd name="connsiteX6" fmla="*/ 257696 w 257696"/>
              <a:gd name="connsiteY6" fmla="*/ 71994 h 303303"/>
              <a:gd name="connsiteX7" fmla="*/ 257682 w 257696"/>
              <a:gd name="connsiteY7" fmla="*/ 128896 h 303303"/>
              <a:gd name="connsiteX8" fmla="*/ 227380 w 257696"/>
              <a:gd name="connsiteY8" fmla="*/ 128897 h 303303"/>
              <a:gd name="connsiteX9" fmla="*/ 204930 w 257696"/>
              <a:gd name="connsiteY9" fmla="*/ 147692 h 303303"/>
              <a:gd name="connsiteX10" fmla="*/ 204698 w 257696"/>
              <a:gd name="connsiteY10" fmla="*/ 149698 h 303303"/>
              <a:gd name="connsiteX11" fmla="*/ 204625 w 257696"/>
              <a:gd name="connsiteY11" fmla="*/ 151652 h 303303"/>
              <a:gd name="connsiteX12" fmla="*/ 223422 w 257696"/>
              <a:gd name="connsiteY12" fmla="*/ 174101 h 303303"/>
              <a:gd name="connsiteX13" fmla="*/ 225426 w 257696"/>
              <a:gd name="connsiteY13" fmla="*/ 174333 h 303303"/>
              <a:gd name="connsiteX14" fmla="*/ 227380 w 257696"/>
              <a:gd name="connsiteY14" fmla="*/ 174406 h 303303"/>
              <a:gd name="connsiteX15" fmla="*/ 257682 w 257696"/>
              <a:gd name="connsiteY15" fmla="*/ 174405 h 303303"/>
              <a:gd name="connsiteX16" fmla="*/ 257696 w 257696"/>
              <a:gd name="connsiteY16" fmla="*/ 231312 h 303303"/>
              <a:gd name="connsiteX17" fmla="*/ 233326 w 257696"/>
              <a:gd name="connsiteY17" fmla="*/ 257771 h 303303"/>
              <a:gd name="connsiteX18" fmla="*/ 231149 w 257696"/>
              <a:gd name="connsiteY18" fmla="*/ 257859 h 303303"/>
              <a:gd name="connsiteX19" fmla="*/ 197003 w 257696"/>
              <a:gd name="connsiteY19" fmla="*/ 257849 h 303303"/>
              <a:gd name="connsiteX20" fmla="*/ 196942 w 257696"/>
              <a:gd name="connsiteY20" fmla="*/ 260468 h 303303"/>
              <a:gd name="connsiteX21" fmla="*/ 156921 w 257696"/>
              <a:gd name="connsiteY21" fmla="*/ 302985 h 303303"/>
              <a:gd name="connsiteX22" fmla="*/ 154183 w 257696"/>
              <a:gd name="connsiteY22" fmla="*/ 303226 h 303303"/>
              <a:gd name="connsiteX23" fmla="*/ 151509 w 257696"/>
              <a:gd name="connsiteY23" fmla="*/ 303304 h 303303"/>
              <a:gd name="connsiteX24" fmla="*/ 106078 w 257696"/>
              <a:gd name="connsiteY24" fmla="*/ 260518 h 303303"/>
              <a:gd name="connsiteX25" fmla="*/ 106001 w 257696"/>
              <a:gd name="connsiteY25" fmla="*/ 257849 h 303303"/>
              <a:gd name="connsiteX26" fmla="*/ 71869 w 257696"/>
              <a:gd name="connsiteY26" fmla="*/ 257859 h 303303"/>
              <a:gd name="connsiteX27" fmla="*/ 45689 w 257696"/>
              <a:gd name="connsiteY27" fmla="*/ 235737 h 303303"/>
              <a:gd name="connsiteX28" fmla="*/ 45411 w 257696"/>
              <a:gd name="connsiteY28" fmla="*/ 233492 h 303303"/>
              <a:gd name="connsiteX29" fmla="*/ 45323 w 257696"/>
              <a:gd name="connsiteY29" fmla="*/ 231315 h 303303"/>
              <a:gd name="connsiteX30" fmla="*/ 45307 w 257696"/>
              <a:gd name="connsiteY30" fmla="*/ 197156 h 303303"/>
              <a:gd name="connsiteX31" fmla="*/ 42835 w 257696"/>
              <a:gd name="connsiteY31" fmla="*/ 197083 h 303303"/>
              <a:gd name="connsiteX32" fmla="*/ 318 w 257696"/>
              <a:gd name="connsiteY32" fmla="*/ 157063 h 303303"/>
              <a:gd name="connsiteX33" fmla="*/ 77 w 257696"/>
              <a:gd name="connsiteY33" fmla="*/ 154326 h 303303"/>
              <a:gd name="connsiteX34" fmla="*/ 0 w 257696"/>
              <a:gd name="connsiteY34" fmla="*/ 151652 h 303303"/>
              <a:gd name="connsiteX35" fmla="*/ 42834 w 257696"/>
              <a:gd name="connsiteY35" fmla="*/ 106220 h 303303"/>
              <a:gd name="connsiteX36" fmla="*/ 45307 w 257696"/>
              <a:gd name="connsiteY36" fmla="*/ 106138 h 303303"/>
              <a:gd name="connsiteX37" fmla="*/ 45323 w 257696"/>
              <a:gd name="connsiteY37" fmla="*/ 71991 h 303303"/>
              <a:gd name="connsiteX38" fmla="*/ 67445 w 257696"/>
              <a:gd name="connsiteY38" fmla="*/ 45811 h 303303"/>
              <a:gd name="connsiteX39" fmla="*/ 69690 w 257696"/>
              <a:gd name="connsiteY39" fmla="*/ 45532 h 303303"/>
              <a:gd name="connsiteX40" fmla="*/ 71867 w 257696"/>
              <a:gd name="connsiteY40" fmla="*/ 45444 h 303303"/>
              <a:gd name="connsiteX41" fmla="*/ 105986 w 257696"/>
              <a:gd name="connsiteY41" fmla="*/ 45429 h 303303"/>
              <a:gd name="connsiteX42" fmla="*/ 106078 w 257696"/>
              <a:gd name="connsiteY42" fmla="*/ 42835 h 303303"/>
              <a:gd name="connsiteX43" fmla="*/ 146098 w 257696"/>
              <a:gd name="connsiteY43" fmla="*/ 318 h 303303"/>
              <a:gd name="connsiteX44" fmla="*/ 148836 w 257696"/>
              <a:gd name="connsiteY44" fmla="*/ 77 h 303303"/>
              <a:gd name="connsiteX45" fmla="*/ 151509 w 257696"/>
              <a:gd name="connsiteY45" fmla="*/ 0 h 303303"/>
              <a:gd name="connsiteX46" fmla="*/ 151509 w 257696"/>
              <a:gd name="connsiteY46" fmla="*/ 22754 h 303303"/>
              <a:gd name="connsiteX47" fmla="*/ 128859 w 257696"/>
              <a:gd name="connsiteY47" fmla="*/ 43327 h 303303"/>
              <a:gd name="connsiteX48" fmla="*/ 128755 w 257696"/>
              <a:gd name="connsiteY48" fmla="*/ 45520 h 303303"/>
              <a:gd name="connsiteX49" fmla="*/ 128733 w 257696"/>
              <a:gd name="connsiteY49" fmla="*/ 68184 h 303303"/>
              <a:gd name="connsiteX50" fmla="*/ 71869 w 257696"/>
              <a:gd name="connsiteY50" fmla="*/ 68199 h 303303"/>
              <a:gd name="connsiteX51" fmla="*/ 68177 w 257696"/>
              <a:gd name="connsiteY51" fmla="*/ 71123 h 303303"/>
              <a:gd name="connsiteX52" fmla="*/ 68077 w 257696"/>
              <a:gd name="connsiteY52" fmla="*/ 71994 h 303303"/>
              <a:gd name="connsiteX53" fmla="*/ 68063 w 257696"/>
              <a:gd name="connsiteY53" fmla="*/ 128894 h 303303"/>
              <a:gd name="connsiteX54" fmla="*/ 45509 w 257696"/>
              <a:gd name="connsiteY54" fmla="*/ 128897 h 303303"/>
              <a:gd name="connsiteX55" fmla="*/ 22754 w 257696"/>
              <a:gd name="connsiteY55" fmla="*/ 151652 h 303303"/>
              <a:gd name="connsiteX56" fmla="*/ 43316 w 257696"/>
              <a:gd name="connsiteY56" fmla="*/ 174301 h 303303"/>
              <a:gd name="connsiteX57" fmla="*/ 45508 w 257696"/>
              <a:gd name="connsiteY57" fmla="*/ 174406 h 303303"/>
              <a:gd name="connsiteX58" fmla="*/ 68063 w 257696"/>
              <a:gd name="connsiteY58" fmla="*/ 174403 h 303303"/>
              <a:gd name="connsiteX59" fmla="*/ 68077 w 257696"/>
              <a:gd name="connsiteY59" fmla="*/ 231312 h 303303"/>
              <a:gd name="connsiteX60" fmla="*/ 70999 w 257696"/>
              <a:gd name="connsiteY60" fmla="*/ 235004 h 303303"/>
              <a:gd name="connsiteX61" fmla="*/ 71868 w 257696"/>
              <a:gd name="connsiteY61" fmla="*/ 235104 h 303303"/>
              <a:gd name="connsiteX62" fmla="*/ 128733 w 257696"/>
              <a:gd name="connsiteY62" fmla="*/ 235097 h 303303"/>
              <a:gd name="connsiteX63" fmla="*/ 128755 w 257696"/>
              <a:gd name="connsiteY63" fmla="*/ 257795 h 303303"/>
              <a:gd name="connsiteX64" fmla="*/ 151509 w 257696"/>
              <a:gd name="connsiteY64" fmla="*/ 280549 h 303303"/>
              <a:gd name="connsiteX65" fmla="*/ 174160 w 257696"/>
              <a:gd name="connsiteY65" fmla="*/ 259994 h 303303"/>
              <a:gd name="connsiteX66" fmla="*/ 174263 w 257696"/>
              <a:gd name="connsiteY66" fmla="*/ 257805 h 303303"/>
              <a:gd name="connsiteX67" fmla="*/ 174242 w 257696"/>
              <a:gd name="connsiteY67" fmla="*/ 235097 h 303303"/>
              <a:gd name="connsiteX68" fmla="*/ 231149 w 257696"/>
              <a:gd name="connsiteY68" fmla="*/ 235104 h 303303"/>
              <a:gd name="connsiteX69" fmla="*/ 234842 w 257696"/>
              <a:gd name="connsiteY69" fmla="*/ 232182 h 303303"/>
              <a:gd name="connsiteX70" fmla="*/ 234942 w 257696"/>
              <a:gd name="connsiteY70" fmla="*/ 231315 h 303303"/>
              <a:gd name="connsiteX71" fmla="*/ 234926 w 257696"/>
              <a:gd name="connsiteY71" fmla="*/ 197141 h 303303"/>
              <a:gd name="connsiteX72" fmla="*/ 226997 w 257696"/>
              <a:gd name="connsiteY72" fmla="*/ 197154 h 303303"/>
              <a:gd name="connsiteX73" fmla="*/ 224276 w 257696"/>
              <a:gd name="connsiteY73" fmla="*/ 197056 h 303303"/>
              <a:gd name="connsiteX74" fmla="*/ 181953 w 257696"/>
              <a:gd name="connsiteY74" fmla="*/ 153956 h 303303"/>
              <a:gd name="connsiteX75" fmla="*/ 181877 w 257696"/>
              <a:gd name="connsiteY75" fmla="*/ 151268 h 303303"/>
              <a:gd name="connsiteX76" fmla="*/ 181976 w 257696"/>
              <a:gd name="connsiteY76" fmla="*/ 148546 h 303303"/>
              <a:gd name="connsiteX77" fmla="*/ 224733 w 257696"/>
              <a:gd name="connsiteY77" fmla="*/ 106218 h 303303"/>
              <a:gd name="connsiteX78" fmla="*/ 227380 w 257696"/>
              <a:gd name="connsiteY78" fmla="*/ 106143 h 303303"/>
              <a:gd name="connsiteX79" fmla="*/ 234926 w 257696"/>
              <a:gd name="connsiteY79" fmla="*/ 106138 h 303303"/>
              <a:gd name="connsiteX80" fmla="*/ 234942 w 257696"/>
              <a:gd name="connsiteY80" fmla="*/ 71991 h 303303"/>
              <a:gd name="connsiteX81" fmla="*/ 232967 w 257696"/>
              <a:gd name="connsiteY81" fmla="*/ 68661 h 303303"/>
              <a:gd name="connsiteX82" fmla="*/ 232018 w 257696"/>
              <a:gd name="connsiteY82" fmla="*/ 68299 h 303303"/>
              <a:gd name="connsiteX83" fmla="*/ 231148 w 257696"/>
              <a:gd name="connsiteY83" fmla="*/ 68199 h 303303"/>
              <a:gd name="connsiteX84" fmla="*/ 174242 w 257696"/>
              <a:gd name="connsiteY84" fmla="*/ 68184 h 303303"/>
              <a:gd name="connsiteX85" fmla="*/ 174263 w 257696"/>
              <a:gd name="connsiteY85" fmla="*/ 45509 h 303303"/>
              <a:gd name="connsiteX86" fmla="*/ 151509 w 257696"/>
              <a:gd name="connsiteY86" fmla="*/ 22754 h 30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57696" h="303303">
                <a:moveTo>
                  <a:pt x="151509" y="0"/>
                </a:moveTo>
                <a:cubicBezTo>
                  <a:pt x="175745" y="0"/>
                  <a:pt x="195557" y="18946"/>
                  <a:pt x="196928" y="42764"/>
                </a:cubicBezTo>
                <a:lnTo>
                  <a:pt x="197003" y="45429"/>
                </a:lnTo>
                <a:lnTo>
                  <a:pt x="231149" y="45444"/>
                </a:lnTo>
                <a:cubicBezTo>
                  <a:pt x="244304" y="45444"/>
                  <a:pt x="255225" y="55012"/>
                  <a:pt x="257330" y="67570"/>
                </a:cubicBezTo>
                <a:lnTo>
                  <a:pt x="257608" y="69816"/>
                </a:lnTo>
                <a:lnTo>
                  <a:pt x="257696" y="71994"/>
                </a:lnTo>
                <a:lnTo>
                  <a:pt x="257682" y="128896"/>
                </a:lnTo>
                <a:lnTo>
                  <a:pt x="227380" y="128897"/>
                </a:lnTo>
                <a:cubicBezTo>
                  <a:pt x="216100" y="128897"/>
                  <a:pt x="206655" y="137137"/>
                  <a:pt x="204930" y="147692"/>
                </a:cubicBezTo>
                <a:lnTo>
                  <a:pt x="204698" y="149698"/>
                </a:lnTo>
                <a:lnTo>
                  <a:pt x="204625" y="151652"/>
                </a:lnTo>
                <a:cubicBezTo>
                  <a:pt x="204625" y="162932"/>
                  <a:pt x="212865" y="172376"/>
                  <a:pt x="223422" y="174101"/>
                </a:cubicBezTo>
                <a:lnTo>
                  <a:pt x="225426" y="174333"/>
                </a:lnTo>
                <a:lnTo>
                  <a:pt x="227380" y="174406"/>
                </a:lnTo>
                <a:lnTo>
                  <a:pt x="257682" y="174405"/>
                </a:lnTo>
                <a:lnTo>
                  <a:pt x="257696" y="231312"/>
                </a:lnTo>
                <a:cubicBezTo>
                  <a:pt x="257696" y="245240"/>
                  <a:pt x="246970" y="256663"/>
                  <a:pt x="233326" y="257771"/>
                </a:cubicBezTo>
                <a:lnTo>
                  <a:pt x="231149" y="257859"/>
                </a:lnTo>
                <a:lnTo>
                  <a:pt x="197003" y="257849"/>
                </a:lnTo>
                <a:lnTo>
                  <a:pt x="196942" y="260468"/>
                </a:lnTo>
                <a:cubicBezTo>
                  <a:pt x="195662" y="282552"/>
                  <a:pt x="178634" y="300412"/>
                  <a:pt x="156921" y="302985"/>
                </a:cubicBezTo>
                <a:lnTo>
                  <a:pt x="154183" y="303226"/>
                </a:lnTo>
                <a:lnTo>
                  <a:pt x="151509" y="303304"/>
                </a:lnTo>
                <a:cubicBezTo>
                  <a:pt x="127274" y="303304"/>
                  <a:pt x="107463" y="284357"/>
                  <a:pt x="106078" y="260518"/>
                </a:cubicBezTo>
                <a:lnTo>
                  <a:pt x="106001" y="257849"/>
                </a:lnTo>
                <a:lnTo>
                  <a:pt x="71869" y="257859"/>
                </a:lnTo>
                <a:cubicBezTo>
                  <a:pt x="58715" y="257859"/>
                  <a:pt x="47795" y="248291"/>
                  <a:pt x="45689" y="235737"/>
                </a:cubicBezTo>
                <a:lnTo>
                  <a:pt x="45411" y="233492"/>
                </a:lnTo>
                <a:lnTo>
                  <a:pt x="45323" y="231315"/>
                </a:lnTo>
                <a:lnTo>
                  <a:pt x="45307" y="197156"/>
                </a:lnTo>
                <a:lnTo>
                  <a:pt x="42835" y="197083"/>
                </a:lnTo>
                <a:cubicBezTo>
                  <a:pt x="20750" y="195803"/>
                  <a:pt x="2891" y="178776"/>
                  <a:pt x="318" y="157063"/>
                </a:cubicBezTo>
                <a:lnTo>
                  <a:pt x="77" y="154326"/>
                </a:lnTo>
                <a:lnTo>
                  <a:pt x="0" y="151652"/>
                </a:lnTo>
                <a:cubicBezTo>
                  <a:pt x="0" y="127415"/>
                  <a:pt x="18946" y="107604"/>
                  <a:pt x="42834" y="106220"/>
                </a:cubicBezTo>
                <a:lnTo>
                  <a:pt x="45307" y="106138"/>
                </a:lnTo>
                <a:lnTo>
                  <a:pt x="45323" y="71991"/>
                </a:lnTo>
                <a:cubicBezTo>
                  <a:pt x="45323" y="58837"/>
                  <a:pt x="54890" y="47917"/>
                  <a:pt x="67445" y="45811"/>
                </a:cubicBezTo>
                <a:lnTo>
                  <a:pt x="69690" y="45532"/>
                </a:lnTo>
                <a:lnTo>
                  <a:pt x="71867" y="45444"/>
                </a:lnTo>
                <a:lnTo>
                  <a:pt x="105986" y="45429"/>
                </a:lnTo>
                <a:lnTo>
                  <a:pt x="106078" y="42835"/>
                </a:lnTo>
                <a:cubicBezTo>
                  <a:pt x="107358" y="20750"/>
                  <a:pt x="124386" y="2891"/>
                  <a:pt x="146098" y="318"/>
                </a:cubicBezTo>
                <a:lnTo>
                  <a:pt x="148836" y="77"/>
                </a:lnTo>
                <a:lnTo>
                  <a:pt x="151509" y="0"/>
                </a:lnTo>
                <a:close/>
                <a:moveTo>
                  <a:pt x="151509" y="22754"/>
                </a:moveTo>
                <a:cubicBezTo>
                  <a:pt x="139683" y="22754"/>
                  <a:pt x="129962" y="31778"/>
                  <a:pt x="128859" y="43327"/>
                </a:cubicBezTo>
                <a:lnTo>
                  <a:pt x="128755" y="45520"/>
                </a:lnTo>
                <a:lnTo>
                  <a:pt x="128733" y="68184"/>
                </a:lnTo>
                <a:lnTo>
                  <a:pt x="71869" y="68199"/>
                </a:lnTo>
                <a:cubicBezTo>
                  <a:pt x="70074" y="68199"/>
                  <a:pt x="68570" y="69446"/>
                  <a:pt x="68177" y="71123"/>
                </a:cubicBezTo>
                <a:lnTo>
                  <a:pt x="68077" y="71994"/>
                </a:lnTo>
                <a:lnTo>
                  <a:pt x="68063" y="128894"/>
                </a:lnTo>
                <a:lnTo>
                  <a:pt x="45509" y="128897"/>
                </a:lnTo>
                <a:cubicBezTo>
                  <a:pt x="32942" y="128897"/>
                  <a:pt x="22754" y="139085"/>
                  <a:pt x="22754" y="151652"/>
                </a:cubicBezTo>
                <a:cubicBezTo>
                  <a:pt x="22754" y="163479"/>
                  <a:pt x="31779" y="173199"/>
                  <a:pt x="43316" y="174301"/>
                </a:cubicBezTo>
                <a:lnTo>
                  <a:pt x="45508" y="174406"/>
                </a:lnTo>
                <a:lnTo>
                  <a:pt x="68063" y="174403"/>
                </a:lnTo>
                <a:lnTo>
                  <a:pt x="68077" y="231312"/>
                </a:lnTo>
                <a:cubicBezTo>
                  <a:pt x="68077" y="233106"/>
                  <a:pt x="69324" y="234611"/>
                  <a:pt x="70999" y="235004"/>
                </a:cubicBezTo>
                <a:lnTo>
                  <a:pt x="71868" y="235104"/>
                </a:lnTo>
                <a:lnTo>
                  <a:pt x="128733" y="235097"/>
                </a:lnTo>
                <a:lnTo>
                  <a:pt x="128755" y="257795"/>
                </a:lnTo>
                <a:cubicBezTo>
                  <a:pt x="128755" y="270361"/>
                  <a:pt x="138942" y="280549"/>
                  <a:pt x="151509" y="280549"/>
                </a:cubicBezTo>
                <a:cubicBezTo>
                  <a:pt x="163337" y="280549"/>
                  <a:pt x="173057" y="271525"/>
                  <a:pt x="174160" y="259994"/>
                </a:cubicBezTo>
                <a:lnTo>
                  <a:pt x="174263" y="257805"/>
                </a:lnTo>
                <a:lnTo>
                  <a:pt x="174242" y="235097"/>
                </a:lnTo>
                <a:lnTo>
                  <a:pt x="231149" y="235104"/>
                </a:lnTo>
                <a:cubicBezTo>
                  <a:pt x="232945" y="235104"/>
                  <a:pt x="234449" y="233857"/>
                  <a:pt x="234842" y="232182"/>
                </a:cubicBezTo>
                <a:lnTo>
                  <a:pt x="234942" y="231315"/>
                </a:lnTo>
                <a:lnTo>
                  <a:pt x="234926" y="197141"/>
                </a:lnTo>
                <a:lnTo>
                  <a:pt x="226997" y="197154"/>
                </a:lnTo>
                <a:lnTo>
                  <a:pt x="224276" y="197056"/>
                </a:lnTo>
                <a:cubicBezTo>
                  <a:pt x="201350" y="195505"/>
                  <a:pt x="183256" y="177070"/>
                  <a:pt x="181953" y="153956"/>
                </a:cubicBezTo>
                <a:lnTo>
                  <a:pt x="181877" y="151268"/>
                </a:lnTo>
                <a:lnTo>
                  <a:pt x="181976" y="148546"/>
                </a:lnTo>
                <a:cubicBezTo>
                  <a:pt x="183526" y="125621"/>
                  <a:pt x="201961" y="107527"/>
                  <a:pt x="224733" y="106218"/>
                </a:cubicBezTo>
                <a:lnTo>
                  <a:pt x="227380" y="106143"/>
                </a:lnTo>
                <a:lnTo>
                  <a:pt x="234926" y="106138"/>
                </a:lnTo>
                <a:lnTo>
                  <a:pt x="234942" y="71991"/>
                </a:lnTo>
                <a:cubicBezTo>
                  <a:pt x="234942" y="70555"/>
                  <a:pt x="234144" y="69305"/>
                  <a:pt x="232967" y="68661"/>
                </a:cubicBezTo>
                <a:lnTo>
                  <a:pt x="232018" y="68299"/>
                </a:lnTo>
                <a:lnTo>
                  <a:pt x="231148" y="68199"/>
                </a:lnTo>
                <a:lnTo>
                  <a:pt x="174242" y="68184"/>
                </a:lnTo>
                <a:lnTo>
                  <a:pt x="174263" y="45509"/>
                </a:lnTo>
                <a:cubicBezTo>
                  <a:pt x="174263" y="32942"/>
                  <a:pt x="164077" y="22754"/>
                  <a:pt x="151509" y="22754"/>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26" name="Graphic 43" descr="Icon of a document with a lifeline">
            <a:extLst>
              <a:ext uri="{FF2B5EF4-FFF2-40B4-BE49-F238E27FC236}">
                <a16:creationId xmlns:a16="http://schemas.microsoft.com/office/drawing/2014/main" id="{DDF43673-0932-7EAB-D6D7-AB6166681255}"/>
              </a:ext>
            </a:extLst>
          </p:cNvPr>
          <p:cNvSpPr/>
          <p:nvPr/>
        </p:nvSpPr>
        <p:spPr>
          <a:xfrm>
            <a:off x="3716426" y="4608080"/>
            <a:ext cx="156772" cy="174190"/>
          </a:xfrm>
          <a:custGeom>
            <a:avLst/>
            <a:gdLst>
              <a:gd name="connsiteX0" fmla="*/ 274357 w 308652"/>
              <a:gd name="connsiteY0" fmla="*/ 317226 h 342946"/>
              <a:gd name="connsiteX1" fmla="*/ 282931 w 308652"/>
              <a:gd name="connsiteY1" fmla="*/ 308652 h 342946"/>
              <a:gd name="connsiteX2" fmla="*/ 282931 w 308652"/>
              <a:gd name="connsiteY2" fmla="*/ 137179 h 342946"/>
              <a:gd name="connsiteX3" fmla="*/ 205768 w 308652"/>
              <a:gd name="connsiteY3" fmla="*/ 137179 h 342946"/>
              <a:gd name="connsiteX4" fmla="*/ 171473 w 308652"/>
              <a:gd name="connsiteY4" fmla="*/ 102884 h 342946"/>
              <a:gd name="connsiteX5" fmla="*/ 171473 w 308652"/>
              <a:gd name="connsiteY5" fmla="*/ 25721 h 342946"/>
              <a:gd name="connsiteX6" fmla="*/ 68589 w 308652"/>
              <a:gd name="connsiteY6" fmla="*/ 25721 h 342946"/>
              <a:gd name="connsiteX7" fmla="*/ 60016 w 308652"/>
              <a:gd name="connsiteY7" fmla="*/ 34295 h 342946"/>
              <a:gd name="connsiteX8" fmla="*/ 60016 w 308652"/>
              <a:gd name="connsiteY8" fmla="*/ 124318 h 342946"/>
              <a:gd name="connsiteX9" fmla="*/ 47155 w 308652"/>
              <a:gd name="connsiteY9" fmla="*/ 137179 h 342946"/>
              <a:gd name="connsiteX10" fmla="*/ 34295 w 308652"/>
              <a:gd name="connsiteY10" fmla="*/ 124318 h 342946"/>
              <a:gd name="connsiteX11" fmla="*/ 34295 w 308652"/>
              <a:gd name="connsiteY11" fmla="*/ 34295 h 342946"/>
              <a:gd name="connsiteX12" fmla="*/ 68589 w 308652"/>
              <a:gd name="connsiteY12" fmla="*/ 0 h 342946"/>
              <a:gd name="connsiteX13" fmla="*/ 174423 w 308652"/>
              <a:gd name="connsiteY13" fmla="*/ 0 h 342946"/>
              <a:gd name="connsiteX14" fmla="*/ 175832 w 308652"/>
              <a:gd name="connsiteY14" fmla="*/ 127 h 342946"/>
              <a:gd name="connsiteX15" fmla="*/ 176840 w 308652"/>
              <a:gd name="connsiteY15" fmla="*/ 240 h 342946"/>
              <a:gd name="connsiteX16" fmla="*/ 187540 w 308652"/>
              <a:gd name="connsiteY16" fmla="*/ 2606 h 342946"/>
              <a:gd name="connsiteX17" fmla="*/ 190387 w 308652"/>
              <a:gd name="connsiteY17" fmla="*/ 4104 h 342946"/>
              <a:gd name="connsiteX18" fmla="*/ 191244 w 308652"/>
              <a:gd name="connsiteY18" fmla="*/ 4595 h 342946"/>
              <a:gd name="connsiteX19" fmla="*/ 192059 w 308652"/>
              <a:gd name="connsiteY19" fmla="*/ 5008 h 342946"/>
              <a:gd name="connsiteX20" fmla="*/ 193439 w 308652"/>
              <a:gd name="connsiteY20" fmla="*/ 5762 h 342946"/>
              <a:gd name="connsiteX21" fmla="*/ 197194 w 308652"/>
              <a:gd name="connsiteY21" fmla="*/ 8848 h 342946"/>
              <a:gd name="connsiteX22" fmla="*/ 197817 w 308652"/>
              <a:gd name="connsiteY22" fmla="*/ 9349 h 342946"/>
              <a:gd name="connsiteX23" fmla="*/ 198652 w 308652"/>
              <a:gd name="connsiteY23" fmla="*/ 10048 h 342946"/>
              <a:gd name="connsiteX24" fmla="*/ 298604 w 308652"/>
              <a:gd name="connsiteY24" fmla="*/ 109983 h 342946"/>
              <a:gd name="connsiteX25" fmla="*/ 308652 w 308652"/>
              <a:gd name="connsiteY25" fmla="*/ 134229 h 342946"/>
              <a:gd name="connsiteX26" fmla="*/ 308652 w 308652"/>
              <a:gd name="connsiteY26" fmla="*/ 308652 h 342946"/>
              <a:gd name="connsiteX27" fmla="*/ 274357 w 308652"/>
              <a:gd name="connsiteY27" fmla="*/ 342947 h 342946"/>
              <a:gd name="connsiteX28" fmla="*/ 68589 w 308652"/>
              <a:gd name="connsiteY28" fmla="*/ 342947 h 342946"/>
              <a:gd name="connsiteX29" fmla="*/ 34295 w 308652"/>
              <a:gd name="connsiteY29" fmla="*/ 308652 h 342946"/>
              <a:gd name="connsiteX30" fmla="*/ 34295 w 308652"/>
              <a:gd name="connsiteY30" fmla="*/ 244350 h 342946"/>
              <a:gd name="connsiteX31" fmla="*/ 47155 w 308652"/>
              <a:gd name="connsiteY31" fmla="*/ 231489 h 342946"/>
              <a:gd name="connsiteX32" fmla="*/ 60016 w 308652"/>
              <a:gd name="connsiteY32" fmla="*/ 244350 h 342946"/>
              <a:gd name="connsiteX33" fmla="*/ 60016 w 308652"/>
              <a:gd name="connsiteY33" fmla="*/ 308652 h 342946"/>
              <a:gd name="connsiteX34" fmla="*/ 68589 w 308652"/>
              <a:gd name="connsiteY34" fmla="*/ 317226 h 342946"/>
              <a:gd name="connsiteX35" fmla="*/ 274357 w 308652"/>
              <a:gd name="connsiteY35" fmla="*/ 317226 h 342946"/>
              <a:gd name="connsiteX36" fmla="*/ 263692 w 308652"/>
              <a:gd name="connsiteY36" fmla="*/ 111458 h 342946"/>
              <a:gd name="connsiteX37" fmla="*/ 197194 w 308652"/>
              <a:gd name="connsiteY37" fmla="*/ 44943 h 342946"/>
              <a:gd name="connsiteX38" fmla="*/ 197194 w 308652"/>
              <a:gd name="connsiteY38" fmla="*/ 102884 h 342946"/>
              <a:gd name="connsiteX39" fmla="*/ 205768 w 308652"/>
              <a:gd name="connsiteY39" fmla="*/ 111458 h 342946"/>
              <a:gd name="connsiteX40" fmla="*/ 263692 w 308652"/>
              <a:gd name="connsiteY40" fmla="*/ 111458 h 342946"/>
              <a:gd name="connsiteX41" fmla="*/ 12861 w 308652"/>
              <a:gd name="connsiteY41" fmla="*/ 188621 h 342946"/>
              <a:gd name="connsiteX42" fmla="*/ 55816 w 308652"/>
              <a:gd name="connsiteY42" fmla="*/ 188621 h 342946"/>
              <a:gd name="connsiteX43" fmla="*/ 82509 w 308652"/>
              <a:gd name="connsiteY43" fmla="*/ 127729 h 342946"/>
              <a:gd name="connsiteX44" fmla="*/ 105265 w 308652"/>
              <a:gd name="connsiteY44" fmla="*/ 126170 h 342946"/>
              <a:gd name="connsiteX45" fmla="*/ 105363 w 308652"/>
              <a:gd name="connsiteY45" fmla="*/ 126333 h 342946"/>
              <a:gd name="connsiteX46" fmla="*/ 106226 w 308652"/>
              <a:gd name="connsiteY46" fmla="*/ 128111 h 342946"/>
              <a:gd name="connsiteX47" fmla="*/ 147606 w 308652"/>
              <a:gd name="connsiteY47" fmla="*/ 231450 h 342946"/>
              <a:gd name="connsiteX48" fmla="*/ 172070 w 308652"/>
              <a:gd name="connsiteY48" fmla="*/ 195444 h 342946"/>
              <a:gd name="connsiteX49" fmla="*/ 181422 w 308652"/>
              <a:gd name="connsiteY49" fmla="*/ 188777 h 342946"/>
              <a:gd name="connsiteX50" fmla="*/ 181606 w 308652"/>
              <a:gd name="connsiteY50" fmla="*/ 188748 h 342946"/>
              <a:gd name="connsiteX51" fmla="*/ 183427 w 308652"/>
              <a:gd name="connsiteY51" fmla="*/ 188619 h 342946"/>
              <a:gd name="connsiteX52" fmla="*/ 217720 w 308652"/>
              <a:gd name="connsiteY52" fmla="*/ 188619 h 342946"/>
              <a:gd name="connsiteX53" fmla="*/ 230580 w 308652"/>
              <a:gd name="connsiteY53" fmla="*/ 201479 h 342946"/>
              <a:gd name="connsiteX54" fmla="*/ 219659 w 308652"/>
              <a:gd name="connsiteY54" fmla="*/ 214196 h 342946"/>
              <a:gd name="connsiteX55" fmla="*/ 219482 w 308652"/>
              <a:gd name="connsiteY55" fmla="*/ 214222 h 342946"/>
              <a:gd name="connsiteX56" fmla="*/ 217720 w 308652"/>
              <a:gd name="connsiteY56" fmla="*/ 214340 h 342946"/>
              <a:gd name="connsiteX57" fmla="*/ 191069 w 308652"/>
              <a:gd name="connsiteY57" fmla="*/ 214340 h 342946"/>
              <a:gd name="connsiteX58" fmla="*/ 157140 w 308652"/>
              <a:gd name="connsiteY58" fmla="*/ 267390 h 342946"/>
              <a:gd name="connsiteX59" fmla="*/ 134747 w 308652"/>
              <a:gd name="connsiteY59" fmla="*/ 268088 h 342946"/>
              <a:gd name="connsiteX60" fmla="*/ 134651 w 308652"/>
              <a:gd name="connsiteY60" fmla="*/ 267929 h 342946"/>
              <a:gd name="connsiteX61" fmla="*/ 133814 w 308652"/>
              <a:gd name="connsiteY61" fmla="*/ 266195 h 342946"/>
              <a:gd name="connsiteX62" fmla="*/ 93751 w 308652"/>
              <a:gd name="connsiteY62" fmla="*/ 166147 h 342946"/>
              <a:gd name="connsiteX63" fmla="*/ 75999 w 308652"/>
              <a:gd name="connsiteY63" fmla="*/ 206644 h 342946"/>
              <a:gd name="connsiteX64" fmla="*/ 67108 w 308652"/>
              <a:gd name="connsiteY64" fmla="*/ 214014 h 342946"/>
              <a:gd name="connsiteX65" fmla="*/ 66319 w 308652"/>
              <a:gd name="connsiteY65" fmla="*/ 214170 h 342946"/>
              <a:gd name="connsiteX66" fmla="*/ 66128 w 308652"/>
              <a:gd name="connsiteY66" fmla="*/ 214201 h 342946"/>
              <a:gd name="connsiteX67" fmla="*/ 64220 w 308652"/>
              <a:gd name="connsiteY67" fmla="*/ 214342 h 342946"/>
              <a:gd name="connsiteX68" fmla="*/ 12861 w 308652"/>
              <a:gd name="connsiteY68" fmla="*/ 214342 h 342946"/>
              <a:gd name="connsiteX69" fmla="*/ 0 w 308652"/>
              <a:gd name="connsiteY69" fmla="*/ 201481 h 342946"/>
              <a:gd name="connsiteX70" fmla="*/ 10921 w 308652"/>
              <a:gd name="connsiteY70" fmla="*/ 188766 h 342946"/>
              <a:gd name="connsiteX71" fmla="*/ 11097 w 308652"/>
              <a:gd name="connsiteY71" fmla="*/ 188739 h 342946"/>
              <a:gd name="connsiteX72" fmla="*/ 12861 w 308652"/>
              <a:gd name="connsiteY72" fmla="*/ 188621 h 342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08652" h="342946">
                <a:moveTo>
                  <a:pt x="274357" y="317226"/>
                </a:moveTo>
                <a:cubicBezTo>
                  <a:pt x="279090" y="317226"/>
                  <a:pt x="282931" y="313368"/>
                  <a:pt x="282931" y="308652"/>
                </a:cubicBezTo>
                <a:lnTo>
                  <a:pt x="282931" y="137179"/>
                </a:lnTo>
                <a:lnTo>
                  <a:pt x="205768" y="137179"/>
                </a:lnTo>
                <a:cubicBezTo>
                  <a:pt x="186837" y="137179"/>
                  <a:pt x="171473" y="121815"/>
                  <a:pt x="171473" y="102884"/>
                </a:cubicBezTo>
                <a:lnTo>
                  <a:pt x="171473" y="25721"/>
                </a:lnTo>
                <a:lnTo>
                  <a:pt x="68589" y="25721"/>
                </a:lnTo>
                <a:cubicBezTo>
                  <a:pt x="63857" y="25721"/>
                  <a:pt x="60016" y="29579"/>
                  <a:pt x="60016" y="34295"/>
                </a:cubicBezTo>
                <a:lnTo>
                  <a:pt x="60016" y="124318"/>
                </a:lnTo>
                <a:cubicBezTo>
                  <a:pt x="60016" y="131421"/>
                  <a:pt x="54258" y="137179"/>
                  <a:pt x="47155" y="137179"/>
                </a:cubicBezTo>
                <a:cubicBezTo>
                  <a:pt x="40053" y="137179"/>
                  <a:pt x="34295" y="131421"/>
                  <a:pt x="34295" y="124318"/>
                </a:cubicBezTo>
                <a:lnTo>
                  <a:pt x="34295" y="34295"/>
                </a:lnTo>
                <a:cubicBezTo>
                  <a:pt x="34295" y="15364"/>
                  <a:pt x="49659" y="0"/>
                  <a:pt x="68589" y="0"/>
                </a:cubicBezTo>
                <a:lnTo>
                  <a:pt x="174423" y="0"/>
                </a:lnTo>
                <a:cubicBezTo>
                  <a:pt x="174901" y="0"/>
                  <a:pt x="175368" y="64"/>
                  <a:pt x="175832" y="127"/>
                </a:cubicBezTo>
                <a:cubicBezTo>
                  <a:pt x="176168" y="173"/>
                  <a:pt x="176503" y="218"/>
                  <a:pt x="176840" y="240"/>
                </a:cubicBezTo>
                <a:cubicBezTo>
                  <a:pt x="180527" y="497"/>
                  <a:pt x="184162" y="1200"/>
                  <a:pt x="187540" y="2606"/>
                </a:cubicBezTo>
                <a:cubicBezTo>
                  <a:pt x="188525" y="3026"/>
                  <a:pt x="189457" y="3566"/>
                  <a:pt x="190387" y="4104"/>
                </a:cubicBezTo>
                <a:cubicBezTo>
                  <a:pt x="190673" y="4269"/>
                  <a:pt x="190958" y="4434"/>
                  <a:pt x="191244" y="4595"/>
                </a:cubicBezTo>
                <a:cubicBezTo>
                  <a:pt x="191510" y="4741"/>
                  <a:pt x="191784" y="4874"/>
                  <a:pt x="192059" y="5008"/>
                </a:cubicBezTo>
                <a:cubicBezTo>
                  <a:pt x="192532" y="5238"/>
                  <a:pt x="193005" y="5469"/>
                  <a:pt x="193439" y="5762"/>
                </a:cubicBezTo>
                <a:cubicBezTo>
                  <a:pt x="194777" y="6670"/>
                  <a:pt x="195977" y="7751"/>
                  <a:pt x="197194" y="8848"/>
                </a:cubicBezTo>
                <a:cubicBezTo>
                  <a:pt x="197392" y="9023"/>
                  <a:pt x="197602" y="9185"/>
                  <a:pt x="197817" y="9349"/>
                </a:cubicBezTo>
                <a:cubicBezTo>
                  <a:pt x="198105" y="9570"/>
                  <a:pt x="198395" y="9792"/>
                  <a:pt x="198652" y="10048"/>
                </a:cubicBezTo>
                <a:lnTo>
                  <a:pt x="298604" y="109983"/>
                </a:lnTo>
                <a:cubicBezTo>
                  <a:pt x="305034" y="116413"/>
                  <a:pt x="308652" y="125141"/>
                  <a:pt x="308652" y="134229"/>
                </a:cubicBezTo>
                <a:lnTo>
                  <a:pt x="308652" y="308652"/>
                </a:lnTo>
                <a:cubicBezTo>
                  <a:pt x="308652" y="327583"/>
                  <a:pt x="293288" y="342947"/>
                  <a:pt x="274357" y="342947"/>
                </a:cubicBezTo>
                <a:lnTo>
                  <a:pt x="68589" y="342947"/>
                </a:lnTo>
                <a:cubicBezTo>
                  <a:pt x="49659" y="342947"/>
                  <a:pt x="34295" y="327583"/>
                  <a:pt x="34295" y="308652"/>
                </a:cubicBezTo>
                <a:lnTo>
                  <a:pt x="34295" y="244350"/>
                </a:lnTo>
                <a:cubicBezTo>
                  <a:pt x="34295" y="237247"/>
                  <a:pt x="40053" y="231489"/>
                  <a:pt x="47155" y="231489"/>
                </a:cubicBezTo>
                <a:cubicBezTo>
                  <a:pt x="54258" y="231489"/>
                  <a:pt x="60016" y="237247"/>
                  <a:pt x="60016" y="244350"/>
                </a:cubicBezTo>
                <a:lnTo>
                  <a:pt x="60016" y="308652"/>
                </a:lnTo>
                <a:cubicBezTo>
                  <a:pt x="60016" y="313368"/>
                  <a:pt x="63857" y="317226"/>
                  <a:pt x="68589" y="317226"/>
                </a:cubicBezTo>
                <a:lnTo>
                  <a:pt x="274357" y="317226"/>
                </a:lnTo>
                <a:close/>
                <a:moveTo>
                  <a:pt x="263692" y="111458"/>
                </a:moveTo>
                <a:lnTo>
                  <a:pt x="197194" y="44943"/>
                </a:lnTo>
                <a:lnTo>
                  <a:pt x="197194" y="102884"/>
                </a:lnTo>
                <a:cubicBezTo>
                  <a:pt x="197194" y="107600"/>
                  <a:pt x="201035" y="111458"/>
                  <a:pt x="205768" y="111458"/>
                </a:cubicBezTo>
                <a:lnTo>
                  <a:pt x="263692" y="111458"/>
                </a:lnTo>
                <a:close/>
                <a:moveTo>
                  <a:pt x="12861" y="188621"/>
                </a:moveTo>
                <a:lnTo>
                  <a:pt x="55816" y="188621"/>
                </a:lnTo>
                <a:lnTo>
                  <a:pt x="82509" y="127729"/>
                </a:lnTo>
                <a:cubicBezTo>
                  <a:pt x="86773" y="118001"/>
                  <a:pt x="100063" y="117507"/>
                  <a:pt x="105265" y="126170"/>
                </a:cubicBezTo>
                <a:lnTo>
                  <a:pt x="105363" y="126333"/>
                </a:lnTo>
                <a:lnTo>
                  <a:pt x="106226" y="128111"/>
                </a:lnTo>
                <a:lnTo>
                  <a:pt x="147606" y="231450"/>
                </a:lnTo>
                <a:lnTo>
                  <a:pt x="172070" y="195444"/>
                </a:lnTo>
                <a:cubicBezTo>
                  <a:pt x="173980" y="191848"/>
                  <a:pt x="177463" y="189399"/>
                  <a:pt x="181422" y="188777"/>
                </a:cubicBezTo>
                <a:lnTo>
                  <a:pt x="181606" y="188748"/>
                </a:lnTo>
                <a:lnTo>
                  <a:pt x="183427" y="188619"/>
                </a:lnTo>
                <a:lnTo>
                  <a:pt x="217720" y="188619"/>
                </a:lnTo>
                <a:cubicBezTo>
                  <a:pt x="224822" y="188619"/>
                  <a:pt x="230580" y="194377"/>
                  <a:pt x="230580" y="201479"/>
                </a:cubicBezTo>
                <a:cubicBezTo>
                  <a:pt x="230580" y="207920"/>
                  <a:pt x="225844" y="213260"/>
                  <a:pt x="219659" y="214196"/>
                </a:cubicBezTo>
                <a:lnTo>
                  <a:pt x="219482" y="214222"/>
                </a:lnTo>
                <a:lnTo>
                  <a:pt x="217720" y="214340"/>
                </a:lnTo>
                <a:lnTo>
                  <a:pt x="191069" y="214340"/>
                </a:lnTo>
                <a:lnTo>
                  <a:pt x="157140" y="267390"/>
                </a:lnTo>
                <a:cubicBezTo>
                  <a:pt x="152421" y="276415"/>
                  <a:pt x="139749" y="276484"/>
                  <a:pt x="134747" y="268088"/>
                </a:cubicBezTo>
                <a:lnTo>
                  <a:pt x="134651" y="267929"/>
                </a:lnTo>
                <a:lnTo>
                  <a:pt x="133814" y="266195"/>
                </a:lnTo>
                <a:lnTo>
                  <a:pt x="93751" y="166147"/>
                </a:lnTo>
                <a:lnTo>
                  <a:pt x="75999" y="206644"/>
                </a:lnTo>
                <a:cubicBezTo>
                  <a:pt x="74345" y="210418"/>
                  <a:pt x="71015" y="213114"/>
                  <a:pt x="67108" y="214014"/>
                </a:cubicBezTo>
                <a:cubicBezTo>
                  <a:pt x="66847" y="214074"/>
                  <a:pt x="66584" y="214126"/>
                  <a:pt x="66319" y="214170"/>
                </a:cubicBezTo>
                <a:lnTo>
                  <a:pt x="66128" y="214201"/>
                </a:lnTo>
                <a:lnTo>
                  <a:pt x="64220" y="214342"/>
                </a:lnTo>
                <a:lnTo>
                  <a:pt x="12861" y="214342"/>
                </a:lnTo>
                <a:cubicBezTo>
                  <a:pt x="5758" y="214342"/>
                  <a:pt x="0" y="208584"/>
                  <a:pt x="0" y="201481"/>
                </a:cubicBezTo>
                <a:cubicBezTo>
                  <a:pt x="0" y="195041"/>
                  <a:pt x="4736" y="189701"/>
                  <a:pt x="10921" y="188766"/>
                </a:cubicBezTo>
                <a:lnTo>
                  <a:pt x="11097" y="188739"/>
                </a:lnTo>
                <a:lnTo>
                  <a:pt x="12861" y="188621"/>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212581260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ED4313-718C-7785-74EB-26EBED5618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A64F4A0-0A1F-5B1E-F18E-C5C52733F2A9}"/>
              </a:ext>
            </a:extLst>
          </p:cNvPr>
          <p:cNvSpPr>
            <a:spLocks noGrp="1"/>
          </p:cNvSpPr>
          <p:nvPr>
            <p:ph type="title"/>
          </p:nvPr>
        </p:nvSpPr>
        <p:spPr>
          <a:xfrm>
            <a:off x="588263" y="457200"/>
            <a:ext cx="11018520" cy="553998"/>
          </a:xfrm>
        </p:spPr>
        <p:txBody>
          <a:bodyPr/>
          <a:lstStyle/>
          <a:p>
            <a:r>
              <a:rPr lang="en-US" sz="3600" noProof="0" dirty="0">
                <a:latin typeface="Segoe UI Semibold" panose="020B0702040204020203" pitchFamily="34" charset="0"/>
                <a:cs typeface="Segoe UI Semibold" panose="020B0702040204020203" pitchFamily="34" charset="0"/>
              </a:rPr>
              <a:t>KPI – </a:t>
            </a:r>
            <a:r>
              <a:rPr lang="en-US" sz="3600" noProof="0" dirty="0">
                <a:gradFill>
                  <a:gsLst>
                    <a:gs pos="38000">
                      <a:srgbClr val="0078D4"/>
                    </a:gs>
                    <a:gs pos="0">
                      <a:srgbClr val="C03BC4"/>
                    </a:gs>
                  </a:gsLst>
                  <a:path path="circle">
                    <a:fillToRect l="100000" t="100000"/>
                  </a:path>
                </a:gradFill>
                <a:latin typeface="Segoe UI Semibold" panose="020B0702040204020203" pitchFamily="34" charset="0"/>
                <a:cs typeface="Segoe UI Semibold" panose="020B0702040204020203" pitchFamily="34" charset="0"/>
              </a:rPr>
              <a:t>Retail margin</a:t>
            </a:r>
          </a:p>
        </p:txBody>
      </p:sp>
      <p:sp>
        <p:nvSpPr>
          <p:cNvPr id="7" name="Rectangle: Rounded Corners 81">
            <a:extLst>
              <a:ext uri="{FF2B5EF4-FFF2-40B4-BE49-F238E27FC236}">
                <a16:creationId xmlns:a16="http://schemas.microsoft.com/office/drawing/2014/main" id="{3CEEA59B-079A-8F57-4233-216CFBAF2FC8}"/>
              </a:ext>
              <a:ext uri="{C183D7F6-B498-43B3-948B-1728B52AA6E4}">
                <adec:decorative xmlns:adec="http://schemas.microsoft.com/office/drawing/2017/decorative" val="1"/>
              </a:ext>
            </a:extLst>
          </p:cNvPr>
          <p:cNvSpPr>
            <a:spLocks/>
          </p:cNvSpPr>
          <p:nvPr/>
        </p:nvSpPr>
        <p:spPr bwMode="auto">
          <a:xfrm>
            <a:off x="571500" y="1187448"/>
            <a:ext cx="11017250" cy="5161779"/>
          </a:xfrm>
          <a:prstGeom prst="roundRect">
            <a:avLst>
              <a:gd name="adj" fmla="val 3245"/>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8" name="Rounded Rectangle 53">
            <a:extLst>
              <a:ext uri="{FF2B5EF4-FFF2-40B4-BE49-F238E27FC236}">
                <a16:creationId xmlns:a16="http://schemas.microsoft.com/office/drawing/2014/main" id="{8105CEEC-6B99-CA47-5593-CD6666886C23}"/>
              </a:ext>
            </a:extLst>
          </p:cNvPr>
          <p:cNvSpPr>
            <a:spLocks/>
          </p:cNvSpPr>
          <p:nvPr/>
        </p:nvSpPr>
        <p:spPr bwMode="auto">
          <a:xfrm>
            <a:off x="662940" y="4061815"/>
            <a:ext cx="5670614" cy="2195972"/>
          </a:xfrm>
          <a:prstGeom prst="roundRect">
            <a:avLst>
              <a:gd name="adj" fmla="val 4803"/>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w="3175">
                  <a:noFill/>
                </a:ln>
                <a:gradFill flip="none" rotWithShape="1">
                  <a:gsLst>
                    <a:gs pos="51000">
                      <a:srgbClr val="0078D4"/>
                    </a:gs>
                    <a:gs pos="0">
                      <a:srgbClr val="C03BC4"/>
                    </a:gs>
                  </a:gsLst>
                  <a:lin ang="13500000" scaled="1"/>
                  <a:tileRect/>
                </a:gradFill>
                <a:effectLst/>
                <a:uLnTx/>
                <a:uFillTx/>
                <a:latin typeface="Segoe UI Semibold"/>
                <a:ea typeface="+mn-ea"/>
                <a:cs typeface="Segoe UI" pitchFamily="34" charset="0"/>
              </a:rPr>
              <a:t>How AI can help increase margin</a:t>
            </a:r>
          </a:p>
        </p:txBody>
      </p:sp>
      <p:sp>
        <p:nvSpPr>
          <p:cNvPr id="9" name="Rectangle: Rounded Corners 8">
            <a:extLst>
              <a:ext uri="{FF2B5EF4-FFF2-40B4-BE49-F238E27FC236}">
                <a16:creationId xmlns:a16="http://schemas.microsoft.com/office/drawing/2014/main" id="{6FB47B26-0BFD-EB92-3A2A-980D78FA6855}"/>
              </a:ext>
            </a:extLst>
          </p:cNvPr>
          <p:cNvSpPr/>
          <p:nvPr/>
        </p:nvSpPr>
        <p:spPr bwMode="auto">
          <a:xfrm>
            <a:off x="763523" y="4526250"/>
            <a:ext cx="2603689" cy="337850"/>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6576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flip="none" rotWithShape="1">
                  <a:gsLst>
                    <a:gs pos="51000">
                      <a:srgbClr val="0078D4"/>
                    </a:gs>
                    <a:gs pos="0">
                      <a:srgbClr val="C03BC4"/>
                    </a:gs>
                  </a:gsLst>
                  <a:lin ang="13500000" scaled="1"/>
                  <a:tileRect/>
                </a:gradFill>
                <a:effectLst/>
                <a:uLnTx/>
                <a:uFillTx/>
                <a:latin typeface="Segoe UI Semibold"/>
                <a:ea typeface="+mn-ea"/>
                <a:cs typeface="Segoe UI Semilight"/>
              </a:rPr>
              <a:t>Improve pricing and promotions</a:t>
            </a:r>
          </a:p>
        </p:txBody>
      </p:sp>
      <p:sp>
        <p:nvSpPr>
          <p:cNvPr id="10" name="Rectangle: Rounded Corners 9">
            <a:extLst>
              <a:ext uri="{FF2B5EF4-FFF2-40B4-BE49-F238E27FC236}">
                <a16:creationId xmlns:a16="http://schemas.microsoft.com/office/drawing/2014/main" id="{2DD3712F-DA18-6716-9099-CB434494627C}"/>
              </a:ext>
            </a:extLst>
          </p:cNvPr>
          <p:cNvSpPr/>
          <p:nvPr/>
        </p:nvSpPr>
        <p:spPr bwMode="auto">
          <a:xfrm>
            <a:off x="3629283" y="4504737"/>
            <a:ext cx="2603689" cy="476726"/>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flip="none" rotWithShape="1">
                  <a:gsLst>
                    <a:gs pos="51000">
                      <a:srgbClr val="0078D4"/>
                    </a:gs>
                    <a:gs pos="0">
                      <a:srgbClr val="C03BC4"/>
                    </a:gs>
                  </a:gsLst>
                  <a:lin ang="13500000" scaled="1"/>
                  <a:tileRect/>
                </a:gradFill>
                <a:effectLst/>
                <a:uLnTx/>
                <a:uFillTx/>
                <a:latin typeface="Segoe UI Semibold"/>
                <a:ea typeface="+mn-ea"/>
                <a:cs typeface="Segoe UI Semilight"/>
              </a:rPr>
              <a:t>Improve quality of marketing materials</a:t>
            </a:r>
          </a:p>
        </p:txBody>
      </p:sp>
      <p:pic>
        <p:nvPicPr>
          <p:cNvPr id="12" name="Picture 11" descr="Photo of sales meeting">
            <a:extLst>
              <a:ext uri="{FF2B5EF4-FFF2-40B4-BE49-F238E27FC236}">
                <a16:creationId xmlns:a16="http://schemas.microsoft.com/office/drawing/2014/main" id="{7EDCA2B3-F979-A8ED-2ED4-42632BB3F2AD}"/>
              </a:ext>
            </a:extLst>
          </p:cNvPr>
          <p:cNvPicPr>
            <a:picLocks/>
          </p:cNvPicPr>
          <p:nvPr/>
        </p:nvPicPr>
        <p:blipFill rotWithShape="1">
          <a:blip r:embed="rId2" cstate="screen">
            <a:extLst>
              <a:ext uri="{28A0092B-C50C-407E-A947-70E740481C1C}">
                <a14:useLocalDpi xmlns:a14="http://schemas.microsoft.com/office/drawing/2010/main"/>
              </a:ext>
            </a:extLst>
          </a:blip>
          <a:srcRect l="19173" r="10691"/>
          <a:stretch/>
        </p:blipFill>
        <p:spPr>
          <a:xfrm>
            <a:off x="662939" y="1278888"/>
            <a:ext cx="5670614" cy="1908701"/>
          </a:xfrm>
          <a:prstGeom prst="roundRect">
            <a:avLst>
              <a:gd name="adj" fmla="val 5305"/>
            </a:avLst>
          </a:prstGeom>
          <a:solidFill>
            <a:schemeClr val="bg1">
              <a:alpha val="70000"/>
            </a:schemeClr>
          </a:solidFill>
          <a:ln w="6350">
            <a:solidFill>
              <a:schemeClr val="bg1">
                <a:lumMod val="95000"/>
              </a:schemeClr>
            </a:solidFill>
          </a:ln>
          <a:effectLst/>
        </p:spPr>
      </p:pic>
      <p:sp>
        <p:nvSpPr>
          <p:cNvPr id="13" name="Text Placeholder 33">
            <a:extLst>
              <a:ext uri="{FF2B5EF4-FFF2-40B4-BE49-F238E27FC236}">
                <a16:creationId xmlns:a16="http://schemas.microsoft.com/office/drawing/2014/main" id="{207EADD1-10A3-37A9-9CA2-C96A95815FA1}"/>
              </a:ext>
            </a:extLst>
          </p:cNvPr>
          <p:cNvSpPr txBox="1">
            <a:spLocks/>
          </p:cNvSpPr>
          <p:nvPr/>
        </p:nvSpPr>
        <p:spPr>
          <a:xfrm>
            <a:off x="662939" y="3274895"/>
            <a:ext cx="5670614" cy="738664"/>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Retail margin is a measure of the profitability of a product sold by a retailer. It represents the difference between the selling price of a product and its cost, expressed as a percentage of the selling price. Monitoring margins helps retailers maintain a healthy balance between costs and revenues.</a:t>
            </a:r>
          </a:p>
        </p:txBody>
      </p:sp>
      <p:sp>
        <p:nvSpPr>
          <p:cNvPr id="14" name="TextBox 13">
            <a:extLst>
              <a:ext uri="{FF2B5EF4-FFF2-40B4-BE49-F238E27FC236}">
                <a16:creationId xmlns:a16="http://schemas.microsoft.com/office/drawing/2014/main" id="{D1DF8A72-03EF-8490-F683-F90AB7C2891E}"/>
              </a:ext>
            </a:extLst>
          </p:cNvPr>
          <p:cNvSpPr txBox="1"/>
          <p:nvPr/>
        </p:nvSpPr>
        <p:spPr>
          <a:xfrm>
            <a:off x="763523" y="4959950"/>
            <a:ext cx="2603689" cy="1169551"/>
          </a:xfrm>
          <a:prstGeom prst="rect">
            <a:avLst/>
          </a:prstGeom>
          <a:noFill/>
        </p:spPr>
        <p:txBody>
          <a:bodyPr wrap="square" lIns="0" tIns="0" rIns="0" bIns="0">
            <a:spAutoFit/>
          </a:bodyPr>
          <a:lstStyle/>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nalyze current product mix and cross sell success</a:t>
            </a:r>
          </a:p>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Use Copilot to research market conditions</a:t>
            </a:r>
          </a:p>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Use Copilot to compare sales across regions or other variables</a:t>
            </a:r>
          </a:p>
        </p:txBody>
      </p:sp>
      <p:sp>
        <p:nvSpPr>
          <p:cNvPr id="15" name="TextBox 14">
            <a:extLst>
              <a:ext uri="{FF2B5EF4-FFF2-40B4-BE49-F238E27FC236}">
                <a16:creationId xmlns:a16="http://schemas.microsoft.com/office/drawing/2014/main" id="{0B92265D-C0AC-F51F-9719-36007A011AE4}"/>
              </a:ext>
            </a:extLst>
          </p:cNvPr>
          <p:cNvSpPr txBox="1"/>
          <p:nvPr/>
        </p:nvSpPr>
        <p:spPr>
          <a:xfrm>
            <a:off x="3629283" y="5075302"/>
            <a:ext cx="2603689" cy="338554"/>
          </a:xfrm>
          <a:prstGeom prst="rect">
            <a:avLst/>
          </a:prstGeom>
          <a:noFill/>
        </p:spPr>
        <p:txBody>
          <a:bodyPr wrap="square" lIns="0" tIns="0" rIns="0" bIns="0">
            <a:spAutoFit/>
          </a:bodyPr>
          <a:lstStyle/>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mprove marketing content with clear value propositions</a:t>
            </a:r>
          </a:p>
        </p:txBody>
      </p:sp>
      <p:sp>
        <p:nvSpPr>
          <p:cNvPr id="20" name="Rounded Rectangle 53">
            <a:extLst>
              <a:ext uri="{FF2B5EF4-FFF2-40B4-BE49-F238E27FC236}">
                <a16:creationId xmlns:a16="http://schemas.microsoft.com/office/drawing/2014/main" id="{CD00BA9F-3510-E6E5-AC05-9D187F6E5846}"/>
              </a:ext>
            </a:extLst>
          </p:cNvPr>
          <p:cNvSpPr>
            <a:spLocks/>
          </p:cNvSpPr>
          <p:nvPr/>
        </p:nvSpPr>
        <p:spPr bwMode="auto">
          <a:xfrm>
            <a:off x="6424994" y="1278888"/>
            <a:ext cx="5072316" cy="4978899"/>
          </a:xfrm>
          <a:prstGeom prst="roundRect">
            <a:avLst>
              <a:gd name="adj" fmla="val 2006"/>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flip="none" rotWithShape="1">
                <a:gsLst>
                  <a:gs pos="37000">
                    <a:srgbClr val="0078D4"/>
                  </a:gs>
                  <a:gs pos="100000">
                    <a:srgbClr val="C03BC4"/>
                  </a:gs>
                </a:gsLst>
                <a:path path="circle">
                  <a:fillToRect r="100000" b="100000"/>
                </a:path>
                <a:tileRect l="-100000" t="-100000"/>
              </a:gradFill>
              <a:effectLst/>
              <a:uLnTx/>
              <a:uFillTx/>
              <a:latin typeface="Segoe UI Semibold"/>
              <a:ea typeface="+mn-ea"/>
              <a:cs typeface="+mn-cs"/>
            </a:endParaRPr>
          </a:p>
        </p:txBody>
      </p:sp>
      <p:sp>
        <p:nvSpPr>
          <p:cNvPr id="21" name="Rectangle: Rounded Corners 20">
            <a:extLst>
              <a:ext uri="{FF2B5EF4-FFF2-40B4-BE49-F238E27FC236}">
                <a16:creationId xmlns:a16="http://schemas.microsoft.com/office/drawing/2014/main" id="{8D8A4CDC-D1B9-160E-441D-285E87FACF26}"/>
              </a:ext>
            </a:extLst>
          </p:cNvPr>
          <p:cNvSpPr>
            <a:spLocks/>
          </p:cNvSpPr>
          <p:nvPr/>
        </p:nvSpPr>
        <p:spPr bwMode="auto">
          <a:xfrm>
            <a:off x="6527800" y="1370328"/>
            <a:ext cx="4866704" cy="401322"/>
          </a:xfrm>
          <a:prstGeom prst="roundRect">
            <a:avLst>
              <a:gd name="adj" fmla="val 2072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flip="none" rotWithShape="1">
                  <a:gsLst>
                    <a:gs pos="0">
                      <a:srgbClr val="C03BC4"/>
                    </a:gs>
                    <a:gs pos="56000">
                      <a:srgbClr val="0078D4"/>
                    </a:gs>
                  </a:gsLst>
                  <a:lin ang="13500000" scaled="1"/>
                  <a:tileRect/>
                </a:gradFill>
                <a:effectLst/>
                <a:uLnTx/>
                <a:uFillTx/>
                <a:latin typeface="Segoe UI Semibold"/>
                <a:ea typeface="+mn-ea"/>
                <a:cs typeface="Segoe UI Semilight"/>
              </a:rPr>
              <a:t>Value Calculation</a:t>
            </a:r>
          </a:p>
        </p:txBody>
      </p:sp>
      <p:sp>
        <p:nvSpPr>
          <p:cNvPr id="22" name="TextBox 21">
            <a:extLst>
              <a:ext uri="{FF2B5EF4-FFF2-40B4-BE49-F238E27FC236}">
                <a16:creationId xmlns:a16="http://schemas.microsoft.com/office/drawing/2014/main" id="{CC041F94-78C5-CC44-EA6B-3E96B753B1C1}"/>
              </a:ext>
            </a:extLst>
          </p:cNvPr>
          <p:cNvSpPr txBox="1">
            <a:spLocks/>
          </p:cNvSpPr>
          <p:nvPr/>
        </p:nvSpPr>
        <p:spPr>
          <a:xfrm>
            <a:off x="6528482" y="1924744"/>
            <a:ext cx="4865340" cy="2749471"/>
          </a:xfrm>
          <a:prstGeom prst="rect">
            <a:avLst/>
          </a:prstGeom>
          <a:noFill/>
        </p:spPr>
        <p:txBody>
          <a:bodyPr wrap="square" lIns="0" tIns="0" rIns="0" bIns="0">
            <a:spAutoFit/>
          </a:bodyPr>
          <a:lstStyle/>
          <a:p>
            <a:pPr marL="228600" indent="-228600" algn="l">
              <a:spcAft>
                <a:spcPts val="600"/>
              </a:spcAft>
              <a:buFont typeface="+mj-lt"/>
              <a:buAutoNum type="arabicPeriod"/>
            </a:pPr>
            <a:r>
              <a:rPr lang="en-US" sz="1100" b="1" i="0" dirty="0">
                <a:solidFill>
                  <a:srgbClr val="424242"/>
                </a:solidFill>
                <a:effectLst/>
                <a:latin typeface="Segoe Sans"/>
              </a:rPr>
              <a:t>Determine the Selling Price</a:t>
            </a:r>
            <a:r>
              <a:rPr lang="en-US" sz="1100" b="0" i="0" dirty="0">
                <a:solidFill>
                  <a:srgbClr val="424242"/>
                </a:solidFill>
                <a:effectLst/>
                <a:latin typeface="Segoe Sans"/>
              </a:rPr>
              <a:t>: The price at which the product is sold to customers.</a:t>
            </a:r>
          </a:p>
          <a:p>
            <a:pPr marL="228600" indent="-228600" algn="l">
              <a:spcAft>
                <a:spcPts val="600"/>
              </a:spcAft>
              <a:buFont typeface="+mj-lt"/>
              <a:buAutoNum type="arabicPeriod"/>
            </a:pPr>
            <a:r>
              <a:rPr lang="en-US" sz="1100" b="1" i="0" dirty="0">
                <a:solidFill>
                  <a:srgbClr val="424242"/>
                </a:solidFill>
                <a:effectLst/>
                <a:latin typeface="Segoe Sans"/>
              </a:rPr>
              <a:t>Determine the Cost</a:t>
            </a:r>
            <a:r>
              <a:rPr lang="en-US" sz="1100" b="0" i="0" dirty="0">
                <a:solidFill>
                  <a:srgbClr val="424242"/>
                </a:solidFill>
                <a:effectLst/>
                <a:latin typeface="Segoe Sans"/>
              </a:rPr>
              <a:t>: The price at which the retailer acquires the product from suppliers.</a:t>
            </a:r>
          </a:p>
          <a:p>
            <a:pPr marL="228600" indent="-228600" algn="l">
              <a:spcAft>
                <a:spcPts val="600"/>
              </a:spcAft>
              <a:buFont typeface="+mj-lt"/>
              <a:buAutoNum type="arabicPeriod"/>
            </a:pPr>
            <a:r>
              <a:rPr lang="en-US" sz="1100" b="0" i="0" dirty="0">
                <a:solidFill>
                  <a:srgbClr val="424242"/>
                </a:solidFill>
                <a:effectLst/>
                <a:latin typeface="Segoe Sans"/>
              </a:rPr>
              <a:t>Subtract the cost price from the selling price, divide by the selling price, and multiply by 100 to get the percentage.</a:t>
            </a:r>
          </a:p>
          <a:p>
            <a:pPr marL="228600" indent="-228600" algn="l">
              <a:spcAft>
                <a:spcPts val="600"/>
              </a:spcAft>
              <a:buFont typeface="+mj-lt"/>
              <a:buAutoNum type="arabicPeriod"/>
            </a:pPr>
            <a:endParaRPr lang="en-US" sz="1100" dirty="0">
              <a:solidFill>
                <a:srgbClr val="424242"/>
              </a:solidFill>
              <a:latin typeface="Segoe Sans"/>
            </a:endParaRPr>
          </a:p>
          <a:p>
            <a:pPr algn="l">
              <a:spcAft>
                <a:spcPts val="600"/>
              </a:spcAft>
            </a:pPr>
            <a:r>
              <a:rPr lang="en-US" sz="1100" b="1" i="0" dirty="0">
                <a:solidFill>
                  <a:srgbClr val="424242"/>
                </a:solidFill>
                <a:effectLst/>
                <a:latin typeface="Segoe Sans"/>
              </a:rPr>
              <a:t>Example</a:t>
            </a:r>
          </a:p>
          <a:p>
            <a:pPr algn="l">
              <a:spcBef>
                <a:spcPts val="450"/>
              </a:spcBef>
              <a:spcAft>
                <a:spcPts val="750"/>
              </a:spcAft>
              <a:buNone/>
            </a:pPr>
            <a:r>
              <a:rPr lang="en-US" sz="1100" b="0" i="0" dirty="0">
                <a:solidFill>
                  <a:srgbClr val="424242"/>
                </a:solidFill>
                <a:effectLst/>
                <a:latin typeface="Segoe Sans"/>
              </a:rPr>
              <a:t>Let's say a retailer sells a product for $50 and the cost price is $30. The retail margin would be:</a:t>
            </a:r>
          </a:p>
          <a:p>
            <a:pPr algn="l">
              <a:spcBef>
                <a:spcPts val="450"/>
              </a:spcBef>
              <a:spcAft>
                <a:spcPts val="750"/>
              </a:spcAft>
            </a:pPr>
            <a:r>
              <a:rPr lang="en-US" sz="1100" b="0" i="0" dirty="0">
                <a:solidFill>
                  <a:srgbClr val="424242"/>
                </a:solidFill>
                <a:effectLst/>
              </a:rPr>
              <a:t>Retail Margin=(50−30)/50×100=40%</a:t>
            </a:r>
          </a:p>
          <a:p>
            <a:pPr algn="l">
              <a:spcAft>
                <a:spcPts val="600"/>
              </a:spcAft>
            </a:pPr>
            <a:endParaRPr lang="en-US" sz="1100" b="0" i="0" dirty="0">
              <a:solidFill>
                <a:srgbClr val="424242"/>
              </a:solidFill>
              <a:effectLst/>
              <a:latin typeface="Segoe Sans"/>
            </a:endParaRPr>
          </a:p>
        </p:txBody>
      </p:sp>
      <p:sp>
        <p:nvSpPr>
          <p:cNvPr id="23" name="Graphic 40">
            <a:extLst>
              <a:ext uri="{FF2B5EF4-FFF2-40B4-BE49-F238E27FC236}">
                <a16:creationId xmlns:a16="http://schemas.microsoft.com/office/drawing/2014/main" id="{ABF72DE3-0FBE-A020-1480-BE1AA4088C9A}"/>
              </a:ext>
            </a:extLst>
          </p:cNvPr>
          <p:cNvSpPr/>
          <p:nvPr/>
        </p:nvSpPr>
        <p:spPr>
          <a:xfrm>
            <a:off x="6610350" y="1476092"/>
            <a:ext cx="210860" cy="189794"/>
          </a:xfrm>
          <a:custGeom>
            <a:avLst/>
            <a:gdLst>
              <a:gd name="connsiteX0" fmla="*/ 152390 w 190480"/>
              <a:gd name="connsiteY0" fmla="*/ 0 h 171450"/>
              <a:gd name="connsiteX1" fmla="*/ 158153 w 190480"/>
              <a:gd name="connsiteY1" fmla="*/ 2915 h 171450"/>
              <a:gd name="connsiteX2" fmla="*/ 158677 w 190480"/>
              <a:gd name="connsiteY2" fmla="*/ 3743 h 171450"/>
              <a:gd name="connsiteX3" fmla="*/ 189757 w 190480"/>
              <a:gd name="connsiteY3" fmla="*/ 61160 h 171450"/>
              <a:gd name="connsiteX4" fmla="*/ 190119 w 190480"/>
              <a:gd name="connsiteY4" fmla="*/ 62046 h 171450"/>
              <a:gd name="connsiteX5" fmla="*/ 190233 w 190480"/>
              <a:gd name="connsiteY5" fmla="*/ 62427 h 171450"/>
              <a:gd name="connsiteX6" fmla="*/ 190424 w 190480"/>
              <a:gd name="connsiteY6" fmla="*/ 63398 h 171450"/>
              <a:gd name="connsiteX7" fmla="*/ 190481 w 190480"/>
              <a:gd name="connsiteY7" fmla="*/ 64294 h 171450"/>
              <a:gd name="connsiteX8" fmla="*/ 190224 w 190480"/>
              <a:gd name="connsiteY8" fmla="*/ 66199 h 171450"/>
              <a:gd name="connsiteX9" fmla="*/ 189776 w 190480"/>
              <a:gd name="connsiteY9" fmla="*/ 67389 h 171450"/>
              <a:gd name="connsiteX10" fmla="*/ 189414 w 190480"/>
              <a:gd name="connsiteY10" fmla="*/ 68047 h 171450"/>
              <a:gd name="connsiteX11" fmla="*/ 188700 w 190480"/>
              <a:gd name="connsiteY11" fmla="*/ 69018 h 171450"/>
              <a:gd name="connsiteX12" fmla="*/ 189271 w 190480"/>
              <a:gd name="connsiteY12" fmla="*/ 68275 h 171450"/>
              <a:gd name="connsiteX13" fmla="*/ 189033 w 190480"/>
              <a:gd name="connsiteY13" fmla="*/ 68609 h 171450"/>
              <a:gd name="connsiteX14" fmla="*/ 100927 w 190480"/>
              <a:gd name="connsiteY14" fmla="*/ 168669 h 171450"/>
              <a:gd name="connsiteX15" fmla="*/ 98098 w 190480"/>
              <a:gd name="connsiteY15" fmla="*/ 170879 h 171450"/>
              <a:gd name="connsiteX16" fmla="*/ 97165 w 190480"/>
              <a:gd name="connsiteY16" fmla="*/ 171193 h 171450"/>
              <a:gd name="connsiteX17" fmla="*/ 96422 w 190480"/>
              <a:gd name="connsiteY17" fmla="*/ 171355 h 171450"/>
              <a:gd name="connsiteX18" fmla="*/ 95250 w 190480"/>
              <a:gd name="connsiteY18" fmla="*/ 171450 h 171450"/>
              <a:gd name="connsiteX19" fmla="*/ 94298 w 190480"/>
              <a:gd name="connsiteY19" fmla="*/ 171393 h 171450"/>
              <a:gd name="connsiteX20" fmla="*/ 93174 w 190480"/>
              <a:gd name="connsiteY20" fmla="*/ 171145 h 171450"/>
              <a:gd name="connsiteX21" fmla="*/ 91516 w 190480"/>
              <a:gd name="connsiteY21" fmla="*/ 170421 h 171450"/>
              <a:gd name="connsiteX22" fmla="*/ 91430 w 190480"/>
              <a:gd name="connsiteY22" fmla="*/ 170355 h 171450"/>
              <a:gd name="connsiteX23" fmla="*/ 90192 w 190480"/>
              <a:gd name="connsiteY23" fmla="*/ 169364 h 171450"/>
              <a:gd name="connsiteX24" fmla="*/ 1705 w 190480"/>
              <a:gd name="connsiteY24" fmla="*/ 68913 h 171450"/>
              <a:gd name="connsiteX25" fmla="*/ 1457 w 190480"/>
              <a:gd name="connsiteY25" fmla="*/ 68609 h 171450"/>
              <a:gd name="connsiteX26" fmla="*/ 1076 w 190480"/>
              <a:gd name="connsiteY26" fmla="*/ 68047 h 171450"/>
              <a:gd name="connsiteX27" fmla="*/ 67 w 190480"/>
              <a:gd name="connsiteY27" fmla="*/ 65180 h 171450"/>
              <a:gd name="connsiteX28" fmla="*/ 0 w 190480"/>
              <a:gd name="connsiteY28" fmla="*/ 64294 h 171450"/>
              <a:gd name="connsiteX29" fmla="*/ 29 w 190480"/>
              <a:gd name="connsiteY29" fmla="*/ 63665 h 171450"/>
              <a:gd name="connsiteX30" fmla="*/ 152 w 190480"/>
              <a:gd name="connsiteY30" fmla="*/ 62817 h 171450"/>
              <a:gd name="connsiteX31" fmla="*/ 381 w 190480"/>
              <a:gd name="connsiteY31" fmla="*/ 61998 h 171450"/>
              <a:gd name="connsiteX32" fmla="*/ 591 w 190480"/>
              <a:gd name="connsiteY32" fmla="*/ 61436 h 171450"/>
              <a:gd name="connsiteX33" fmla="*/ 857 w 190480"/>
              <a:gd name="connsiteY33" fmla="*/ 60893 h 171450"/>
              <a:gd name="connsiteX34" fmla="*/ 31814 w 190480"/>
              <a:gd name="connsiteY34" fmla="*/ 3743 h 171450"/>
              <a:gd name="connsiteX35" fmla="*/ 37119 w 190480"/>
              <a:gd name="connsiteY35" fmla="*/ 67 h 171450"/>
              <a:gd name="connsiteX36" fmla="*/ 38090 w 190480"/>
              <a:gd name="connsiteY36" fmla="*/ 0 h 171450"/>
              <a:gd name="connsiteX37" fmla="*/ 152390 w 190480"/>
              <a:gd name="connsiteY37" fmla="*/ 0 h 171450"/>
              <a:gd name="connsiteX38" fmla="*/ 123796 w 190480"/>
              <a:gd name="connsiteY38" fmla="*/ 71438 h 171450"/>
              <a:gd name="connsiteX39" fmla="*/ 66656 w 190480"/>
              <a:gd name="connsiteY39" fmla="*/ 71438 h 171450"/>
              <a:gd name="connsiteX40" fmla="*/ 95231 w 190480"/>
              <a:gd name="connsiteY40" fmla="*/ 144656 h 171450"/>
              <a:gd name="connsiteX41" fmla="*/ 123796 w 190480"/>
              <a:gd name="connsiteY41" fmla="*/ 71438 h 171450"/>
              <a:gd name="connsiteX42" fmla="*/ 51330 w 190480"/>
              <a:gd name="connsiteY42" fmla="*/ 71438 h 171450"/>
              <a:gd name="connsiteX43" fmla="*/ 22946 w 190480"/>
              <a:gd name="connsiteY43" fmla="*/ 71438 h 171450"/>
              <a:gd name="connsiteX44" fmla="*/ 73914 w 190480"/>
              <a:gd name="connsiteY44" fmla="*/ 129292 h 171450"/>
              <a:gd name="connsiteX45" fmla="*/ 51330 w 190480"/>
              <a:gd name="connsiteY45" fmla="*/ 71438 h 171450"/>
              <a:gd name="connsiteX46" fmla="*/ 167516 w 190480"/>
              <a:gd name="connsiteY46" fmla="*/ 71438 h 171450"/>
              <a:gd name="connsiteX47" fmla="*/ 139141 w 190480"/>
              <a:gd name="connsiteY47" fmla="*/ 71438 h 171450"/>
              <a:gd name="connsiteX48" fmla="*/ 116586 w 190480"/>
              <a:gd name="connsiteY48" fmla="*/ 129254 h 171450"/>
              <a:gd name="connsiteX49" fmla="*/ 167516 w 190480"/>
              <a:gd name="connsiteY49" fmla="*/ 71438 h 171450"/>
              <a:gd name="connsiteX50" fmla="*/ 66399 w 190480"/>
              <a:gd name="connsiteY50" fmla="*/ 14288 h 171450"/>
              <a:gd name="connsiteX51" fmla="*/ 42339 w 190480"/>
              <a:gd name="connsiteY51" fmla="*/ 14288 h 171450"/>
              <a:gd name="connsiteX52" fmla="*/ 19117 w 190480"/>
              <a:gd name="connsiteY52" fmla="*/ 57150 h 171450"/>
              <a:gd name="connsiteX53" fmla="*/ 52683 w 190480"/>
              <a:gd name="connsiteY53" fmla="*/ 57150 h 171450"/>
              <a:gd name="connsiteX54" fmla="*/ 66399 w 190480"/>
              <a:gd name="connsiteY54" fmla="*/ 14288 h 171450"/>
              <a:gd name="connsiteX55" fmla="*/ 109071 w 190480"/>
              <a:gd name="connsiteY55" fmla="*/ 14288 h 171450"/>
              <a:gd name="connsiteX56" fmla="*/ 81401 w 190480"/>
              <a:gd name="connsiteY56" fmla="*/ 14288 h 171450"/>
              <a:gd name="connsiteX57" fmla="*/ 67675 w 190480"/>
              <a:gd name="connsiteY57" fmla="*/ 57150 h 171450"/>
              <a:gd name="connsiteX58" fmla="*/ 122777 w 190480"/>
              <a:gd name="connsiteY58" fmla="*/ 57150 h 171450"/>
              <a:gd name="connsiteX59" fmla="*/ 109061 w 190480"/>
              <a:gd name="connsiteY59" fmla="*/ 14288 h 171450"/>
              <a:gd name="connsiteX60" fmla="*/ 148123 w 190480"/>
              <a:gd name="connsiteY60" fmla="*/ 14288 h 171450"/>
              <a:gd name="connsiteX61" fmla="*/ 124073 w 190480"/>
              <a:gd name="connsiteY61" fmla="*/ 14288 h 171450"/>
              <a:gd name="connsiteX62" fmla="*/ 137789 w 190480"/>
              <a:gd name="connsiteY62" fmla="*/ 57150 h 171450"/>
              <a:gd name="connsiteX63" fmla="*/ 171336 w 190480"/>
              <a:gd name="connsiteY63" fmla="*/ 57150 h 171450"/>
              <a:gd name="connsiteX64" fmla="*/ 148133 w 190480"/>
              <a:gd name="connsiteY64" fmla="*/ 14288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90480" h="171450">
                <a:moveTo>
                  <a:pt x="152390" y="0"/>
                </a:moveTo>
                <a:cubicBezTo>
                  <a:pt x="154666" y="-2"/>
                  <a:pt x="156806" y="1081"/>
                  <a:pt x="158153" y="2915"/>
                </a:cubicBezTo>
                <a:lnTo>
                  <a:pt x="158677" y="3743"/>
                </a:lnTo>
                <a:lnTo>
                  <a:pt x="189757" y="61160"/>
                </a:lnTo>
                <a:lnTo>
                  <a:pt x="190119" y="62046"/>
                </a:lnTo>
                <a:lnTo>
                  <a:pt x="190233" y="62427"/>
                </a:lnTo>
                <a:lnTo>
                  <a:pt x="190424" y="63398"/>
                </a:lnTo>
                <a:lnTo>
                  <a:pt x="190481" y="64294"/>
                </a:lnTo>
                <a:cubicBezTo>
                  <a:pt x="190482" y="64937"/>
                  <a:pt x="190395" y="65578"/>
                  <a:pt x="190224" y="66199"/>
                </a:cubicBezTo>
                <a:lnTo>
                  <a:pt x="189776" y="67389"/>
                </a:lnTo>
                <a:lnTo>
                  <a:pt x="189414" y="68047"/>
                </a:lnTo>
                <a:cubicBezTo>
                  <a:pt x="189204" y="68390"/>
                  <a:pt x="188965" y="68715"/>
                  <a:pt x="188700" y="69018"/>
                </a:cubicBezTo>
                <a:lnTo>
                  <a:pt x="189271" y="68275"/>
                </a:lnTo>
                <a:lnTo>
                  <a:pt x="189033" y="68609"/>
                </a:lnTo>
                <a:lnTo>
                  <a:pt x="100927" y="168669"/>
                </a:lnTo>
                <a:cubicBezTo>
                  <a:pt x="100195" y="169642"/>
                  <a:pt x="99219" y="170404"/>
                  <a:pt x="98098" y="170879"/>
                </a:cubicBezTo>
                <a:lnTo>
                  <a:pt x="97165" y="171193"/>
                </a:lnTo>
                <a:lnTo>
                  <a:pt x="96422" y="171355"/>
                </a:lnTo>
                <a:lnTo>
                  <a:pt x="95250" y="171450"/>
                </a:lnTo>
                <a:lnTo>
                  <a:pt x="94298" y="171393"/>
                </a:lnTo>
                <a:lnTo>
                  <a:pt x="93174" y="171145"/>
                </a:lnTo>
                <a:cubicBezTo>
                  <a:pt x="92592" y="170979"/>
                  <a:pt x="92034" y="170735"/>
                  <a:pt x="91516" y="170421"/>
                </a:cubicBezTo>
                <a:lnTo>
                  <a:pt x="91430" y="170355"/>
                </a:lnTo>
                <a:cubicBezTo>
                  <a:pt x="90978" y="170077"/>
                  <a:pt x="90563" y="169744"/>
                  <a:pt x="90192" y="169364"/>
                </a:cubicBezTo>
                <a:lnTo>
                  <a:pt x="1705" y="68913"/>
                </a:lnTo>
                <a:lnTo>
                  <a:pt x="1457" y="68609"/>
                </a:lnTo>
                <a:lnTo>
                  <a:pt x="1076" y="68047"/>
                </a:lnTo>
                <a:cubicBezTo>
                  <a:pt x="537" y="67175"/>
                  <a:pt x="192" y="66197"/>
                  <a:pt x="67" y="65180"/>
                </a:cubicBezTo>
                <a:lnTo>
                  <a:pt x="0" y="64294"/>
                </a:lnTo>
                <a:lnTo>
                  <a:pt x="29" y="63665"/>
                </a:lnTo>
                <a:lnTo>
                  <a:pt x="152" y="62817"/>
                </a:lnTo>
                <a:cubicBezTo>
                  <a:pt x="212" y="62540"/>
                  <a:pt x="288" y="62266"/>
                  <a:pt x="381" y="61998"/>
                </a:cubicBezTo>
                <a:lnTo>
                  <a:pt x="591" y="61436"/>
                </a:lnTo>
                <a:lnTo>
                  <a:pt x="857" y="60893"/>
                </a:lnTo>
                <a:lnTo>
                  <a:pt x="31814" y="3743"/>
                </a:lnTo>
                <a:cubicBezTo>
                  <a:pt x="32896" y="1743"/>
                  <a:pt x="34866" y="378"/>
                  <a:pt x="37119" y="67"/>
                </a:cubicBezTo>
                <a:lnTo>
                  <a:pt x="38090" y="0"/>
                </a:lnTo>
                <a:lnTo>
                  <a:pt x="152390" y="0"/>
                </a:lnTo>
                <a:close/>
                <a:moveTo>
                  <a:pt x="123796" y="71438"/>
                </a:moveTo>
                <a:lnTo>
                  <a:pt x="66656" y="71438"/>
                </a:lnTo>
                <a:lnTo>
                  <a:pt x="95231" y="144656"/>
                </a:lnTo>
                <a:lnTo>
                  <a:pt x="123796" y="71438"/>
                </a:lnTo>
                <a:close/>
                <a:moveTo>
                  <a:pt x="51330" y="71438"/>
                </a:moveTo>
                <a:lnTo>
                  <a:pt x="22946" y="71438"/>
                </a:lnTo>
                <a:lnTo>
                  <a:pt x="73914" y="129292"/>
                </a:lnTo>
                <a:lnTo>
                  <a:pt x="51330" y="71438"/>
                </a:lnTo>
                <a:close/>
                <a:moveTo>
                  <a:pt x="167516" y="71438"/>
                </a:moveTo>
                <a:lnTo>
                  <a:pt x="139141" y="71438"/>
                </a:lnTo>
                <a:lnTo>
                  <a:pt x="116586" y="129254"/>
                </a:lnTo>
                <a:lnTo>
                  <a:pt x="167516" y="71438"/>
                </a:lnTo>
                <a:close/>
                <a:moveTo>
                  <a:pt x="66399" y="14288"/>
                </a:moveTo>
                <a:lnTo>
                  <a:pt x="42339" y="14288"/>
                </a:lnTo>
                <a:lnTo>
                  <a:pt x="19117" y="57150"/>
                </a:lnTo>
                <a:lnTo>
                  <a:pt x="52683" y="57150"/>
                </a:lnTo>
                <a:lnTo>
                  <a:pt x="66399" y="14288"/>
                </a:lnTo>
                <a:close/>
                <a:moveTo>
                  <a:pt x="109071" y="14288"/>
                </a:moveTo>
                <a:lnTo>
                  <a:pt x="81401" y="14288"/>
                </a:lnTo>
                <a:lnTo>
                  <a:pt x="67675" y="57150"/>
                </a:lnTo>
                <a:lnTo>
                  <a:pt x="122777" y="57150"/>
                </a:lnTo>
                <a:lnTo>
                  <a:pt x="109061" y="14288"/>
                </a:lnTo>
                <a:close/>
                <a:moveTo>
                  <a:pt x="148123" y="14288"/>
                </a:moveTo>
                <a:lnTo>
                  <a:pt x="124073" y="14288"/>
                </a:lnTo>
                <a:lnTo>
                  <a:pt x="137789" y="57150"/>
                </a:lnTo>
                <a:lnTo>
                  <a:pt x="171336" y="57150"/>
                </a:lnTo>
                <a:lnTo>
                  <a:pt x="148133" y="14288"/>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25" name="Graphic 99" descr="Icon of a puzzle piece">
            <a:extLst>
              <a:ext uri="{FF2B5EF4-FFF2-40B4-BE49-F238E27FC236}">
                <a16:creationId xmlns:a16="http://schemas.microsoft.com/office/drawing/2014/main" id="{03788FE9-413E-F626-29D9-974D24DF8400}"/>
              </a:ext>
            </a:extLst>
          </p:cNvPr>
          <p:cNvSpPr/>
          <p:nvPr/>
        </p:nvSpPr>
        <p:spPr>
          <a:xfrm>
            <a:off x="855010" y="4599639"/>
            <a:ext cx="159404" cy="187616"/>
          </a:xfrm>
          <a:custGeom>
            <a:avLst/>
            <a:gdLst>
              <a:gd name="connsiteX0" fmla="*/ 151509 w 257696"/>
              <a:gd name="connsiteY0" fmla="*/ 0 h 303303"/>
              <a:gd name="connsiteX1" fmla="*/ 196928 w 257696"/>
              <a:gd name="connsiteY1" fmla="*/ 42764 h 303303"/>
              <a:gd name="connsiteX2" fmla="*/ 197003 w 257696"/>
              <a:gd name="connsiteY2" fmla="*/ 45429 h 303303"/>
              <a:gd name="connsiteX3" fmla="*/ 231149 w 257696"/>
              <a:gd name="connsiteY3" fmla="*/ 45444 h 303303"/>
              <a:gd name="connsiteX4" fmla="*/ 257330 w 257696"/>
              <a:gd name="connsiteY4" fmla="*/ 67570 h 303303"/>
              <a:gd name="connsiteX5" fmla="*/ 257608 w 257696"/>
              <a:gd name="connsiteY5" fmla="*/ 69816 h 303303"/>
              <a:gd name="connsiteX6" fmla="*/ 257696 w 257696"/>
              <a:gd name="connsiteY6" fmla="*/ 71994 h 303303"/>
              <a:gd name="connsiteX7" fmla="*/ 257682 w 257696"/>
              <a:gd name="connsiteY7" fmla="*/ 128896 h 303303"/>
              <a:gd name="connsiteX8" fmla="*/ 227380 w 257696"/>
              <a:gd name="connsiteY8" fmla="*/ 128897 h 303303"/>
              <a:gd name="connsiteX9" fmla="*/ 204930 w 257696"/>
              <a:gd name="connsiteY9" fmla="*/ 147692 h 303303"/>
              <a:gd name="connsiteX10" fmla="*/ 204698 w 257696"/>
              <a:gd name="connsiteY10" fmla="*/ 149698 h 303303"/>
              <a:gd name="connsiteX11" fmla="*/ 204625 w 257696"/>
              <a:gd name="connsiteY11" fmla="*/ 151652 h 303303"/>
              <a:gd name="connsiteX12" fmla="*/ 223422 w 257696"/>
              <a:gd name="connsiteY12" fmla="*/ 174101 h 303303"/>
              <a:gd name="connsiteX13" fmla="*/ 225426 w 257696"/>
              <a:gd name="connsiteY13" fmla="*/ 174333 h 303303"/>
              <a:gd name="connsiteX14" fmla="*/ 227380 w 257696"/>
              <a:gd name="connsiteY14" fmla="*/ 174406 h 303303"/>
              <a:gd name="connsiteX15" fmla="*/ 257682 w 257696"/>
              <a:gd name="connsiteY15" fmla="*/ 174405 h 303303"/>
              <a:gd name="connsiteX16" fmla="*/ 257696 w 257696"/>
              <a:gd name="connsiteY16" fmla="*/ 231312 h 303303"/>
              <a:gd name="connsiteX17" fmla="*/ 233326 w 257696"/>
              <a:gd name="connsiteY17" fmla="*/ 257771 h 303303"/>
              <a:gd name="connsiteX18" fmla="*/ 231149 w 257696"/>
              <a:gd name="connsiteY18" fmla="*/ 257859 h 303303"/>
              <a:gd name="connsiteX19" fmla="*/ 197003 w 257696"/>
              <a:gd name="connsiteY19" fmla="*/ 257849 h 303303"/>
              <a:gd name="connsiteX20" fmla="*/ 196942 w 257696"/>
              <a:gd name="connsiteY20" fmla="*/ 260468 h 303303"/>
              <a:gd name="connsiteX21" fmla="*/ 156921 w 257696"/>
              <a:gd name="connsiteY21" fmla="*/ 302985 h 303303"/>
              <a:gd name="connsiteX22" fmla="*/ 154183 w 257696"/>
              <a:gd name="connsiteY22" fmla="*/ 303226 h 303303"/>
              <a:gd name="connsiteX23" fmla="*/ 151509 w 257696"/>
              <a:gd name="connsiteY23" fmla="*/ 303304 h 303303"/>
              <a:gd name="connsiteX24" fmla="*/ 106078 w 257696"/>
              <a:gd name="connsiteY24" fmla="*/ 260518 h 303303"/>
              <a:gd name="connsiteX25" fmla="*/ 106001 w 257696"/>
              <a:gd name="connsiteY25" fmla="*/ 257849 h 303303"/>
              <a:gd name="connsiteX26" fmla="*/ 71869 w 257696"/>
              <a:gd name="connsiteY26" fmla="*/ 257859 h 303303"/>
              <a:gd name="connsiteX27" fmla="*/ 45689 w 257696"/>
              <a:gd name="connsiteY27" fmla="*/ 235737 h 303303"/>
              <a:gd name="connsiteX28" fmla="*/ 45411 w 257696"/>
              <a:gd name="connsiteY28" fmla="*/ 233492 h 303303"/>
              <a:gd name="connsiteX29" fmla="*/ 45323 w 257696"/>
              <a:gd name="connsiteY29" fmla="*/ 231315 h 303303"/>
              <a:gd name="connsiteX30" fmla="*/ 45307 w 257696"/>
              <a:gd name="connsiteY30" fmla="*/ 197156 h 303303"/>
              <a:gd name="connsiteX31" fmla="*/ 42835 w 257696"/>
              <a:gd name="connsiteY31" fmla="*/ 197083 h 303303"/>
              <a:gd name="connsiteX32" fmla="*/ 318 w 257696"/>
              <a:gd name="connsiteY32" fmla="*/ 157063 h 303303"/>
              <a:gd name="connsiteX33" fmla="*/ 77 w 257696"/>
              <a:gd name="connsiteY33" fmla="*/ 154326 h 303303"/>
              <a:gd name="connsiteX34" fmla="*/ 0 w 257696"/>
              <a:gd name="connsiteY34" fmla="*/ 151652 h 303303"/>
              <a:gd name="connsiteX35" fmla="*/ 42834 w 257696"/>
              <a:gd name="connsiteY35" fmla="*/ 106220 h 303303"/>
              <a:gd name="connsiteX36" fmla="*/ 45307 w 257696"/>
              <a:gd name="connsiteY36" fmla="*/ 106138 h 303303"/>
              <a:gd name="connsiteX37" fmla="*/ 45323 w 257696"/>
              <a:gd name="connsiteY37" fmla="*/ 71991 h 303303"/>
              <a:gd name="connsiteX38" fmla="*/ 67445 w 257696"/>
              <a:gd name="connsiteY38" fmla="*/ 45811 h 303303"/>
              <a:gd name="connsiteX39" fmla="*/ 69690 w 257696"/>
              <a:gd name="connsiteY39" fmla="*/ 45532 h 303303"/>
              <a:gd name="connsiteX40" fmla="*/ 71867 w 257696"/>
              <a:gd name="connsiteY40" fmla="*/ 45444 h 303303"/>
              <a:gd name="connsiteX41" fmla="*/ 105986 w 257696"/>
              <a:gd name="connsiteY41" fmla="*/ 45429 h 303303"/>
              <a:gd name="connsiteX42" fmla="*/ 106078 w 257696"/>
              <a:gd name="connsiteY42" fmla="*/ 42835 h 303303"/>
              <a:gd name="connsiteX43" fmla="*/ 146098 w 257696"/>
              <a:gd name="connsiteY43" fmla="*/ 318 h 303303"/>
              <a:gd name="connsiteX44" fmla="*/ 148836 w 257696"/>
              <a:gd name="connsiteY44" fmla="*/ 77 h 303303"/>
              <a:gd name="connsiteX45" fmla="*/ 151509 w 257696"/>
              <a:gd name="connsiteY45" fmla="*/ 0 h 303303"/>
              <a:gd name="connsiteX46" fmla="*/ 151509 w 257696"/>
              <a:gd name="connsiteY46" fmla="*/ 22754 h 303303"/>
              <a:gd name="connsiteX47" fmla="*/ 128859 w 257696"/>
              <a:gd name="connsiteY47" fmla="*/ 43327 h 303303"/>
              <a:gd name="connsiteX48" fmla="*/ 128755 w 257696"/>
              <a:gd name="connsiteY48" fmla="*/ 45520 h 303303"/>
              <a:gd name="connsiteX49" fmla="*/ 128733 w 257696"/>
              <a:gd name="connsiteY49" fmla="*/ 68184 h 303303"/>
              <a:gd name="connsiteX50" fmla="*/ 71869 w 257696"/>
              <a:gd name="connsiteY50" fmla="*/ 68199 h 303303"/>
              <a:gd name="connsiteX51" fmla="*/ 68177 w 257696"/>
              <a:gd name="connsiteY51" fmla="*/ 71123 h 303303"/>
              <a:gd name="connsiteX52" fmla="*/ 68077 w 257696"/>
              <a:gd name="connsiteY52" fmla="*/ 71994 h 303303"/>
              <a:gd name="connsiteX53" fmla="*/ 68063 w 257696"/>
              <a:gd name="connsiteY53" fmla="*/ 128894 h 303303"/>
              <a:gd name="connsiteX54" fmla="*/ 45509 w 257696"/>
              <a:gd name="connsiteY54" fmla="*/ 128897 h 303303"/>
              <a:gd name="connsiteX55" fmla="*/ 22754 w 257696"/>
              <a:gd name="connsiteY55" fmla="*/ 151652 h 303303"/>
              <a:gd name="connsiteX56" fmla="*/ 43316 w 257696"/>
              <a:gd name="connsiteY56" fmla="*/ 174301 h 303303"/>
              <a:gd name="connsiteX57" fmla="*/ 45508 w 257696"/>
              <a:gd name="connsiteY57" fmla="*/ 174406 h 303303"/>
              <a:gd name="connsiteX58" fmla="*/ 68063 w 257696"/>
              <a:gd name="connsiteY58" fmla="*/ 174403 h 303303"/>
              <a:gd name="connsiteX59" fmla="*/ 68077 w 257696"/>
              <a:gd name="connsiteY59" fmla="*/ 231312 h 303303"/>
              <a:gd name="connsiteX60" fmla="*/ 70999 w 257696"/>
              <a:gd name="connsiteY60" fmla="*/ 235004 h 303303"/>
              <a:gd name="connsiteX61" fmla="*/ 71868 w 257696"/>
              <a:gd name="connsiteY61" fmla="*/ 235104 h 303303"/>
              <a:gd name="connsiteX62" fmla="*/ 128733 w 257696"/>
              <a:gd name="connsiteY62" fmla="*/ 235097 h 303303"/>
              <a:gd name="connsiteX63" fmla="*/ 128755 w 257696"/>
              <a:gd name="connsiteY63" fmla="*/ 257795 h 303303"/>
              <a:gd name="connsiteX64" fmla="*/ 151509 w 257696"/>
              <a:gd name="connsiteY64" fmla="*/ 280549 h 303303"/>
              <a:gd name="connsiteX65" fmla="*/ 174160 w 257696"/>
              <a:gd name="connsiteY65" fmla="*/ 259994 h 303303"/>
              <a:gd name="connsiteX66" fmla="*/ 174263 w 257696"/>
              <a:gd name="connsiteY66" fmla="*/ 257805 h 303303"/>
              <a:gd name="connsiteX67" fmla="*/ 174242 w 257696"/>
              <a:gd name="connsiteY67" fmla="*/ 235097 h 303303"/>
              <a:gd name="connsiteX68" fmla="*/ 231149 w 257696"/>
              <a:gd name="connsiteY68" fmla="*/ 235104 h 303303"/>
              <a:gd name="connsiteX69" fmla="*/ 234842 w 257696"/>
              <a:gd name="connsiteY69" fmla="*/ 232182 h 303303"/>
              <a:gd name="connsiteX70" fmla="*/ 234942 w 257696"/>
              <a:gd name="connsiteY70" fmla="*/ 231315 h 303303"/>
              <a:gd name="connsiteX71" fmla="*/ 234926 w 257696"/>
              <a:gd name="connsiteY71" fmla="*/ 197141 h 303303"/>
              <a:gd name="connsiteX72" fmla="*/ 226997 w 257696"/>
              <a:gd name="connsiteY72" fmla="*/ 197154 h 303303"/>
              <a:gd name="connsiteX73" fmla="*/ 224276 w 257696"/>
              <a:gd name="connsiteY73" fmla="*/ 197056 h 303303"/>
              <a:gd name="connsiteX74" fmla="*/ 181953 w 257696"/>
              <a:gd name="connsiteY74" fmla="*/ 153956 h 303303"/>
              <a:gd name="connsiteX75" fmla="*/ 181877 w 257696"/>
              <a:gd name="connsiteY75" fmla="*/ 151268 h 303303"/>
              <a:gd name="connsiteX76" fmla="*/ 181976 w 257696"/>
              <a:gd name="connsiteY76" fmla="*/ 148546 h 303303"/>
              <a:gd name="connsiteX77" fmla="*/ 224733 w 257696"/>
              <a:gd name="connsiteY77" fmla="*/ 106218 h 303303"/>
              <a:gd name="connsiteX78" fmla="*/ 227380 w 257696"/>
              <a:gd name="connsiteY78" fmla="*/ 106143 h 303303"/>
              <a:gd name="connsiteX79" fmla="*/ 234926 w 257696"/>
              <a:gd name="connsiteY79" fmla="*/ 106138 h 303303"/>
              <a:gd name="connsiteX80" fmla="*/ 234942 w 257696"/>
              <a:gd name="connsiteY80" fmla="*/ 71991 h 303303"/>
              <a:gd name="connsiteX81" fmla="*/ 232967 w 257696"/>
              <a:gd name="connsiteY81" fmla="*/ 68661 h 303303"/>
              <a:gd name="connsiteX82" fmla="*/ 232018 w 257696"/>
              <a:gd name="connsiteY82" fmla="*/ 68299 h 303303"/>
              <a:gd name="connsiteX83" fmla="*/ 231148 w 257696"/>
              <a:gd name="connsiteY83" fmla="*/ 68199 h 303303"/>
              <a:gd name="connsiteX84" fmla="*/ 174242 w 257696"/>
              <a:gd name="connsiteY84" fmla="*/ 68184 h 303303"/>
              <a:gd name="connsiteX85" fmla="*/ 174263 w 257696"/>
              <a:gd name="connsiteY85" fmla="*/ 45509 h 303303"/>
              <a:gd name="connsiteX86" fmla="*/ 151509 w 257696"/>
              <a:gd name="connsiteY86" fmla="*/ 22754 h 30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57696" h="303303">
                <a:moveTo>
                  <a:pt x="151509" y="0"/>
                </a:moveTo>
                <a:cubicBezTo>
                  <a:pt x="175745" y="0"/>
                  <a:pt x="195557" y="18946"/>
                  <a:pt x="196928" y="42764"/>
                </a:cubicBezTo>
                <a:lnTo>
                  <a:pt x="197003" y="45429"/>
                </a:lnTo>
                <a:lnTo>
                  <a:pt x="231149" y="45444"/>
                </a:lnTo>
                <a:cubicBezTo>
                  <a:pt x="244304" y="45444"/>
                  <a:pt x="255225" y="55012"/>
                  <a:pt x="257330" y="67570"/>
                </a:cubicBezTo>
                <a:lnTo>
                  <a:pt x="257608" y="69816"/>
                </a:lnTo>
                <a:lnTo>
                  <a:pt x="257696" y="71994"/>
                </a:lnTo>
                <a:lnTo>
                  <a:pt x="257682" y="128896"/>
                </a:lnTo>
                <a:lnTo>
                  <a:pt x="227380" y="128897"/>
                </a:lnTo>
                <a:cubicBezTo>
                  <a:pt x="216100" y="128897"/>
                  <a:pt x="206655" y="137137"/>
                  <a:pt x="204930" y="147692"/>
                </a:cubicBezTo>
                <a:lnTo>
                  <a:pt x="204698" y="149698"/>
                </a:lnTo>
                <a:lnTo>
                  <a:pt x="204625" y="151652"/>
                </a:lnTo>
                <a:cubicBezTo>
                  <a:pt x="204625" y="162932"/>
                  <a:pt x="212865" y="172376"/>
                  <a:pt x="223422" y="174101"/>
                </a:cubicBezTo>
                <a:lnTo>
                  <a:pt x="225426" y="174333"/>
                </a:lnTo>
                <a:lnTo>
                  <a:pt x="227380" y="174406"/>
                </a:lnTo>
                <a:lnTo>
                  <a:pt x="257682" y="174405"/>
                </a:lnTo>
                <a:lnTo>
                  <a:pt x="257696" y="231312"/>
                </a:lnTo>
                <a:cubicBezTo>
                  <a:pt x="257696" y="245240"/>
                  <a:pt x="246970" y="256663"/>
                  <a:pt x="233326" y="257771"/>
                </a:cubicBezTo>
                <a:lnTo>
                  <a:pt x="231149" y="257859"/>
                </a:lnTo>
                <a:lnTo>
                  <a:pt x="197003" y="257849"/>
                </a:lnTo>
                <a:lnTo>
                  <a:pt x="196942" y="260468"/>
                </a:lnTo>
                <a:cubicBezTo>
                  <a:pt x="195662" y="282552"/>
                  <a:pt x="178634" y="300412"/>
                  <a:pt x="156921" y="302985"/>
                </a:cubicBezTo>
                <a:lnTo>
                  <a:pt x="154183" y="303226"/>
                </a:lnTo>
                <a:lnTo>
                  <a:pt x="151509" y="303304"/>
                </a:lnTo>
                <a:cubicBezTo>
                  <a:pt x="127274" y="303304"/>
                  <a:pt x="107463" y="284357"/>
                  <a:pt x="106078" y="260518"/>
                </a:cubicBezTo>
                <a:lnTo>
                  <a:pt x="106001" y="257849"/>
                </a:lnTo>
                <a:lnTo>
                  <a:pt x="71869" y="257859"/>
                </a:lnTo>
                <a:cubicBezTo>
                  <a:pt x="58715" y="257859"/>
                  <a:pt x="47795" y="248291"/>
                  <a:pt x="45689" y="235737"/>
                </a:cubicBezTo>
                <a:lnTo>
                  <a:pt x="45411" y="233492"/>
                </a:lnTo>
                <a:lnTo>
                  <a:pt x="45323" y="231315"/>
                </a:lnTo>
                <a:lnTo>
                  <a:pt x="45307" y="197156"/>
                </a:lnTo>
                <a:lnTo>
                  <a:pt x="42835" y="197083"/>
                </a:lnTo>
                <a:cubicBezTo>
                  <a:pt x="20750" y="195803"/>
                  <a:pt x="2891" y="178776"/>
                  <a:pt x="318" y="157063"/>
                </a:cubicBezTo>
                <a:lnTo>
                  <a:pt x="77" y="154326"/>
                </a:lnTo>
                <a:lnTo>
                  <a:pt x="0" y="151652"/>
                </a:lnTo>
                <a:cubicBezTo>
                  <a:pt x="0" y="127415"/>
                  <a:pt x="18946" y="107604"/>
                  <a:pt x="42834" y="106220"/>
                </a:cubicBezTo>
                <a:lnTo>
                  <a:pt x="45307" y="106138"/>
                </a:lnTo>
                <a:lnTo>
                  <a:pt x="45323" y="71991"/>
                </a:lnTo>
                <a:cubicBezTo>
                  <a:pt x="45323" y="58837"/>
                  <a:pt x="54890" y="47917"/>
                  <a:pt x="67445" y="45811"/>
                </a:cubicBezTo>
                <a:lnTo>
                  <a:pt x="69690" y="45532"/>
                </a:lnTo>
                <a:lnTo>
                  <a:pt x="71867" y="45444"/>
                </a:lnTo>
                <a:lnTo>
                  <a:pt x="105986" y="45429"/>
                </a:lnTo>
                <a:lnTo>
                  <a:pt x="106078" y="42835"/>
                </a:lnTo>
                <a:cubicBezTo>
                  <a:pt x="107358" y="20750"/>
                  <a:pt x="124386" y="2891"/>
                  <a:pt x="146098" y="318"/>
                </a:cubicBezTo>
                <a:lnTo>
                  <a:pt x="148836" y="77"/>
                </a:lnTo>
                <a:lnTo>
                  <a:pt x="151509" y="0"/>
                </a:lnTo>
                <a:close/>
                <a:moveTo>
                  <a:pt x="151509" y="22754"/>
                </a:moveTo>
                <a:cubicBezTo>
                  <a:pt x="139683" y="22754"/>
                  <a:pt x="129962" y="31778"/>
                  <a:pt x="128859" y="43327"/>
                </a:cubicBezTo>
                <a:lnTo>
                  <a:pt x="128755" y="45520"/>
                </a:lnTo>
                <a:lnTo>
                  <a:pt x="128733" y="68184"/>
                </a:lnTo>
                <a:lnTo>
                  <a:pt x="71869" y="68199"/>
                </a:lnTo>
                <a:cubicBezTo>
                  <a:pt x="70074" y="68199"/>
                  <a:pt x="68570" y="69446"/>
                  <a:pt x="68177" y="71123"/>
                </a:cubicBezTo>
                <a:lnTo>
                  <a:pt x="68077" y="71994"/>
                </a:lnTo>
                <a:lnTo>
                  <a:pt x="68063" y="128894"/>
                </a:lnTo>
                <a:lnTo>
                  <a:pt x="45509" y="128897"/>
                </a:lnTo>
                <a:cubicBezTo>
                  <a:pt x="32942" y="128897"/>
                  <a:pt x="22754" y="139085"/>
                  <a:pt x="22754" y="151652"/>
                </a:cubicBezTo>
                <a:cubicBezTo>
                  <a:pt x="22754" y="163479"/>
                  <a:pt x="31779" y="173199"/>
                  <a:pt x="43316" y="174301"/>
                </a:cubicBezTo>
                <a:lnTo>
                  <a:pt x="45508" y="174406"/>
                </a:lnTo>
                <a:lnTo>
                  <a:pt x="68063" y="174403"/>
                </a:lnTo>
                <a:lnTo>
                  <a:pt x="68077" y="231312"/>
                </a:lnTo>
                <a:cubicBezTo>
                  <a:pt x="68077" y="233106"/>
                  <a:pt x="69324" y="234611"/>
                  <a:pt x="70999" y="235004"/>
                </a:cubicBezTo>
                <a:lnTo>
                  <a:pt x="71868" y="235104"/>
                </a:lnTo>
                <a:lnTo>
                  <a:pt x="128733" y="235097"/>
                </a:lnTo>
                <a:lnTo>
                  <a:pt x="128755" y="257795"/>
                </a:lnTo>
                <a:cubicBezTo>
                  <a:pt x="128755" y="270361"/>
                  <a:pt x="138942" y="280549"/>
                  <a:pt x="151509" y="280549"/>
                </a:cubicBezTo>
                <a:cubicBezTo>
                  <a:pt x="163337" y="280549"/>
                  <a:pt x="173057" y="271525"/>
                  <a:pt x="174160" y="259994"/>
                </a:cubicBezTo>
                <a:lnTo>
                  <a:pt x="174263" y="257805"/>
                </a:lnTo>
                <a:lnTo>
                  <a:pt x="174242" y="235097"/>
                </a:lnTo>
                <a:lnTo>
                  <a:pt x="231149" y="235104"/>
                </a:lnTo>
                <a:cubicBezTo>
                  <a:pt x="232945" y="235104"/>
                  <a:pt x="234449" y="233857"/>
                  <a:pt x="234842" y="232182"/>
                </a:cubicBezTo>
                <a:lnTo>
                  <a:pt x="234942" y="231315"/>
                </a:lnTo>
                <a:lnTo>
                  <a:pt x="234926" y="197141"/>
                </a:lnTo>
                <a:lnTo>
                  <a:pt x="226997" y="197154"/>
                </a:lnTo>
                <a:lnTo>
                  <a:pt x="224276" y="197056"/>
                </a:lnTo>
                <a:cubicBezTo>
                  <a:pt x="201350" y="195505"/>
                  <a:pt x="183256" y="177070"/>
                  <a:pt x="181953" y="153956"/>
                </a:cubicBezTo>
                <a:lnTo>
                  <a:pt x="181877" y="151268"/>
                </a:lnTo>
                <a:lnTo>
                  <a:pt x="181976" y="148546"/>
                </a:lnTo>
                <a:cubicBezTo>
                  <a:pt x="183526" y="125621"/>
                  <a:pt x="201961" y="107527"/>
                  <a:pt x="224733" y="106218"/>
                </a:cubicBezTo>
                <a:lnTo>
                  <a:pt x="227380" y="106143"/>
                </a:lnTo>
                <a:lnTo>
                  <a:pt x="234926" y="106138"/>
                </a:lnTo>
                <a:lnTo>
                  <a:pt x="234942" y="71991"/>
                </a:lnTo>
                <a:cubicBezTo>
                  <a:pt x="234942" y="70555"/>
                  <a:pt x="234144" y="69305"/>
                  <a:pt x="232967" y="68661"/>
                </a:cubicBezTo>
                <a:lnTo>
                  <a:pt x="232018" y="68299"/>
                </a:lnTo>
                <a:lnTo>
                  <a:pt x="231148" y="68199"/>
                </a:lnTo>
                <a:lnTo>
                  <a:pt x="174242" y="68184"/>
                </a:lnTo>
                <a:lnTo>
                  <a:pt x="174263" y="45509"/>
                </a:lnTo>
                <a:cubicBezTo>
                  <a:pt x="174263" y="32942"/>
                  <a:pt x="164077" y="22754"/>
                  <a:pt x="151509" y="22754"/>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26" name="Graphic 43" descr="Icon of a document with a lifeline">
            <a:extLst>
              <a:ext uri="{FF2B5EF4-FFF2-40B4-BE49-F238E27FC236}">
                <a16:creationId xmlns:a16="http://schemas.microsoft.com/office/drawing/2014/main" id="{2C8C3484-5780-6A67-A25E-F8F4A2BB4A07}"/>
              </a:ext>
            </a:extLst>
          </p:cNvPr>
          <p:cNvSpPr/>
          <p:nvPr/>
        </p:nvSpPr>
        <p:spPr>
          <a:xfrm>
            <a:off x="3716426" y="4608080"/>
            <a:ext cx="156772" cy="174190"/>
          </a:xfrm>
          <a:custGeom>
            <a:avLst/>
            <a:gdLst>
              <a:gd name="connsiteX0" fmla="*/ 274357 w 308652"/>
              <a:gd name="connsiteY0" fmla="*/ 317226 h 342946"/>
              <a:gd name="connsiteX1" fmla="*/ 282931 w 308652"/>
              <a:gd name="connsiteY1" fmla="*/ 308652 h 342946"/>
              <a:gd name="connsiteX2" fmla="*/ 282931 w 308652"/>
              <a:gd name="connsiteY2" fmla="*/ 137179 h 342946"/>
              <a:gd name="connsiteX3" fmla="*/ 205768 w 308652"/>
              <a:gd name="connsiteY3" fmla="*/ 137179 h 342946"/>
              <a:gd name="connsiteX4" fmla="*/ 171473 w 308652"/>
              <a:gd name="connsiteY4" fmla="*/ 102884 h 342946"/>
              <a:gd name="connsiteX5" fmla="*/ 171473 w 308652"/>
              <a:gd name="connsiteY5" fmla="*/ 25721 h 342946"/>
              <a:gd name="connsiteX6" fmla="*/ 68589 w 308652"/>
              <a:gd name="connsiteY6" fmla="*/ 25721 h 342946"/>
              <a:gd name="connsiteX7" fmla="*/ 60016 w 308652"/>
              <a:gd name="connsiteY7" fmla="*/ 34295 h 342946"/>
              <a:gd name="connsiteX8" fmla="*/ 60016 w 308652"/>
              <a:gd name="connsiteY8" fmla="*/ 124318 h 342946"/>
              <a:gd name="connsiteX9" fmla="*/ 47155 w 308652"/>
              <a:gd name="connsiteY9" fmla="*/ 137179 h 342946"/>
              <a:gd name="connsiteX10" fmla="*/ 34295 w 308652"/>
              <a:gd name="connsiteY10" fmla="*/ 124318 h 342946"/>
              <a:gd name="connsiteX11" fmla="*/ 34295 w 308652"/>
              <a:gd name="connsiteY11" fmla="*/ 34295 h 342946"/>
              <a:gd name="connsiteX12" fmla="*/ 68589 w 308652"/>
              <a:gd name="connsiteY12" fmla="*/ 0 h 342946"/>
              <a:gd name="connsiteX13" fmla="*/ 174423 w 308652"/>
              <a:gd name="connsiteY13" fmla="*/ 0 h 342946"/>
              <a:gd name="connsiteX14" fmla="*/ 175832 w 308652"/>
              <a:gd name="connsiteY14" fmla="*/ 127 h 342946"/>
              <a:gd name="connsiteX15" fmla="*/ 176840 w 308652"/>
              <a:gd name="connsiteY15" fmla="*/ 240 h 342946"/>
              <a:gd name="connsiteX16" fmla="*/ 187540 w 308652"/>
              <a:gd name="connsiteY16" fmla="*/ 2606 h 342946"/>
              <a:gd name="connsiteX17" fmla="*/ 190387 w 308652"/>
              <a:gd name="connsiteY17" fmla="*/ 4104 h 342946"/>
              <a:gd name="connsiteX18" fmla="*/ 191244 w 308652"/>
              <a:gd name="connsiteY18" fmla="*/ 4595 h 342946"/>
              <a:gd name="connsiteX19" fmla="*/ 192059 w 308652"/>
              <a:gd name="connsiteY19" fmla="*/ 5008 h 342946"/>
              <a:gd name="connsiteX20" fmla="*/ 193439 w 308652"/>
              <a:gd name="connsiteY20" fmla="*/ 5762 h 342946"/>
              <a:gd name="connsiteX21" fmla="*/ 197194 w 308652"/>
              <a:gd name="connsiteY21" fmla="*/ 8848 h 342946"/>
              <a:gd name="connsiteX22" fmla="*/ 197817 w 308652"/>
              <a:gd name="connsiteY22" fmla="*/ 9349 h 342946"/>
              <a:gd name="connsiteX23" fmla="*/ 198652 w 308652"/>
              <a:gd name="connsiteY23" fmla="*/ 10048 h 342946"/>
              <a:gd name="connsiteX24" fmla="*/ 298604 w 308652"/>
              <a:gd name="connsiteY24" fmla="*/ 109983 h 342946"/>
              <a:gd name="connsiteX25" fmla="*/ 308652 w 308652"/>
              <a:gd name="connsiteY25" fmla="*/ 134229 h 342946"/>
              <a:gd name="connsiteX26" fmla="*/ 308652 w 308652"/>
              <a:gd name="connsiteY26" fmla="*/ 308652 h 342946"/>
              <a:gd name="connsiteX27" fmla="*/ 274357 w 308652"/>
              <a:gd name="connsiteY27" fmla="*/ 342947 h 342946"/>
              <a:gd name="connsiteX28" fmla="*/ 68589 w 308652"/>
              <a:gd name="connsiteY28" fmla="*/ 342947 h 342946"/>
              <a:gd name="connsiteX29" fmla="*/ 34295 w 308652"/>
              <a:gd name="connsiteY29" fmla="*/ 308652 h 342946"/>
              <a:gd name="connsiteX30" fmla="*/ 34295 w 308652"/>
              <a:gd name="connsiteY30" fmla="*/ 244350 h 342946"/>
              <a:gd name="connsiteX31" fmla="*/ 47155 w 308652"/>
              <a:gd name="connsiteY31" fmla="*/ 231489 h 342946"/>
              <a:gd name="connsiteX32" fmla="*/ 60016 w 308652"/>
              <a:gd name="connsiteY32" fmla="*/ 244350 h 342946"/>
              <a:gd name="connsiteX33" fmla="*/ 60016 w 308652"/>
              <a:gd name="connsiteY33" fmla="*/ 308652 h 342946"/>
              <a:gd name="connsiteX34" fmla="*/ 68589 w 308652"/>
              <a:gd name="connsiteY34" fmla="*/ 317226 h 342946"/>
              <a:gd name="connsiteX35" fmla="*/ 274357 w 308652"/>
              <a:gd name="connsiteY35" fmla="*/ 317226 h 342946"/>
              <a:gd name="connsiteX36" fmla="*/ 263692 w 308652"/>
              <a:gd name="connsiteY36" fmla="*/ 111458 h 342946"/>
              <a:gd name="connsiteX37" fmla="*/ 197194 w 308652"/>
              <a:gd name="connsiteY37" fmla="*/ 44943 h 342946"/>
              <a:gd name="connsiteX38" fmla="*/ 197194 w 308652"/>
              <a:gd name="connsiteY38" fmla="*/ 102884 h 342946"/>
              <a:gd name="connsiteX39" fmla="*/ 205768 w 308652"/>
              <a:gd name="connsiteY39" fmla="*/ 111458 h 342946"/>
              <a:gd name="connsiteX40" fmla="*/ 263692 w 308652"/>
              <a:gd name="connsiteY40" fmla="*/ 111458 h 342946"/>
              <a:gd name="connsiteX41" fmla="*/ 12861 w 308652"/>
              <a:gd name="connsiteY41" fmla="*/ 188621 h 342946"/>
              <a:gd name="connsiteX42" fmla="*/ 55816 w 308652"/>
              <a:gd name="connsiteY42" fmla="*/ 188621 h 342946"/>
              <a:gd name="connsiteX43" fmla="*/ 82509 w 308652"/>
              <a:gd name="connsiteY43" fmla="*/ 127729 h 342946"/>
              <a:gd name="connsiteX44" fmla="*/ 105265 w 308652"/>
              <a:gd name="connsiteY44" fmla="*/ 126170 h 342946"/>
              <a:gd name="connsiteX45" fmla="*/ 105363 w 308652"/>
              <a:gd name="connsiteY45" fmla="*/ 126333 h 342946"/>
              <a:gd name="connsiteX46" fmla="*/ 106226 w 308652"/>
              <a:gd name="connsiteY46" fmla="*/ 128111 h 342946"/>
              <a:gd name="connsiteX47" fmla="*/ 147606 w 308652"/>
              <a:gd name="connsiteY47" fmla="*/ 231450 h 342946"/>
              <a:gd name="connsiteX48" fmla="*/ 172070 w 308652"/>
              <a:gd name="connsiteY48" fmla="*/ 195444 h 342946"/>
              <a:gd name="connsiteX49" fmla="*/ 181422 w 308652"/>
              <a:gd name="connsiteY49" fmla="*/ 188777 h 342946"/>
              <a:gd name="connsiteX50" fmla="*/ 181606 w 308652"/>
              <a:gd name="connsiteY50" fmla="*/ 188748 h 342946"/>
              <a:gd name="connsiteX51" fmla="*/ 183427 w 308652"/>
              <a:gd name="connsiteY51" fmla="*/ 188619 h 342946"/>
              <a:gd name="connsiteX52" fmla="*/ 217720 w 308652"/>
              <a:gd name="connsiteY52" fmla="*/ 188619 h 342946"/>
              <a:gd name="connsiteX53" fmla="*/ 230580 w 308652"/>
              <a:gd name="connsiteY53" fmla="*/ 201479 h 342946"/>
              <a:gd name="connsiteX54" fmla="*/ 219659 w 308652"/>
              <a:gd name="connsiteY54" fmla="*/ 214196 h 342946"/>
              <a:gd name="connsiteX55" fmla="*/ 219482 w 308652"/>
              <a:gd name="connsiteY55" fmla="*/ 214222 h 342946"/>
              <a:gd name="connsiteX56" fmla="*/ 217720 w 308652"/>
              <a:gd name="connsiteY56" fmla="*/ 214340 h 342946"/>
              <a:gd name="connsiteX57" fmla="*/ 191069 w 308652"/>
              <a:gd name="connsiteY57" fmla="*/ 214340 h 342946"/>
              <a:gd name="connsiteX58" fmla="*/ 157140 w 308652"/>
              <a:gd name="connsiteY58" fmla="*/ 267390 h 342946"/>
              <a:gd name="connsiteX59" fmla="*/ 134747 w 308652"/>
              <a:gd name="connsiteY59" fmla="*/ 268088 h 342946"/>
              <a:gd name="connsiteX60" fmla="*/ 134651 w 308652"/>
              <a:gd name="connsiteY60" fmla="*/ 267929 h 342946"/>
              <a:gd name="connsiteX61" fmla="*/ 133814 w 308652"/>
              <a:gd name="connsiteY61" fmla="*/ 266195 h 342946"/>
              <a:gd name="connsiteX62" fmla="*/ 93751 w 308652"/>
              <a:gd name="connsiteY62" fmla="*/ 166147 h 342946"/>
              <a:gd name="connsiteX63" fmla="*/ 75999 w 308652"/>
              <a:gd name="connsiteY63" fmla="*/ 206644 h 342946"/>
              <a:gd name="connsiteX64" fmla="*/ 67108 w 308652"/>
              <a:gd name="connsiteY64" fmla="*/ 214014 h 342946"/>
              <a:gd name="connsiteX65" fmla="*/ 66319 w 308652"/>
              <a:gd name="connsiteY65" fmla="*/ 214170 h 342946"/>
              <a:gd name="connsiteX66" fmla="*/ 66128 w 308652"/>
              <a:gd name="connsiteY66" fmla="*/ 214201 h 342946"/>
              <a:gd name="connsiteX67" fmla="*/ 64220 w 308652"/>
              <a:gd name="connsiteY67" fmla="*/ 214342 h 342946"/>
              <a:gd name="connsiteX68" fmla="*/ 12861 w 308652"/>
              <a:gd name="connsiteY68" fmla="*/ 214342 h 342946"/>
              <a:gd name="connsiteX69" fmla="*/ 0 w 308652"/>
              <a:gd name="connsiteY69" fmla="*/ 201481 h 342946"/>
              <a:gd name="connsiteX70" fmla="*/ 10921 w 308652"/>
              <a:gd name="connsiteY70" fmla="*/ 188766 h 342946"/>
              <a:gd name="connsiteX71" fmla="*/ 11097 w 308652"/>
              <a:gd name="connsiteY71" fmla="*/ 188739 h 342946"/>
              <a:gd name="connsiteX72" fmla="*/ 12861 w 308652"/>
              <a:gd name="connsiteY72" fmla="*/ 188621 h 342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08652" h="342946">
                <a:moveTo>
                  <a:pt x="274357" y="317226"/>
                </a:moveTo>
                <a:cubicBezTo>
                  <a:pt x="279090" y="317226"/>
                  <a:pt x="282931" y="313368"/>
                  <a:pt x="282931" y="308652"/>
                </a:cubicBezTo>
                <a:lnTo>
                  <a:pt x="282931" y="137179"/>
                </a:lnTo>
                <a:lnTo>
                  <a:pt x="205768" y="137179"/>
                </a:lnTo>
                <a:cubicBezTo>
                  <a:pt x="186837" y="137179"/>
                  <a:pt x="171473" y="121815"/>
                  <a:pt x="171473" y="102884"/>
                </a:cubicBezTo>
                <a:lnTo>
                  <a:pt x="171473" y="25721"/>
                </a:lnTo>
                <a:lnTo>
                  <a:pt x="68589" y="25721"/>
                </a:lnTo>
                <a:cubicBezTo>
                  <a:pt x="63857" y="25721"/>
                  <a:pt x="60016" y="29579"/>
                  <a:pt x="60016" y="34295"/>
                </a:cubicBezTo>
                <a:lnTo>
                  <a:pt x="60016" y="124318"/>
                </a:lnTo>
                <a:cubicBezTo>
                  <a:pt x="60016" y="131421"/>
                  <a:pt x="54258" y="137179"/>
                  <a:pt x="47155" y="137179"/>
                </a:cubicBezTo>
                <a:cubicBezTo>
                  <a:pt x="40053" y="137179"/>
                  <a:pt x="34295" y="131421"/>
                  <a:pt x="34295" y="124318"/>
                </a:cubicBezTo>
                <a:lnTo>
                  <a:pt x="34295" y="34295"/>
                </a:lnTo>
                <a:cubicBezTo>
                  <a:pt x="34295" y="15364"/>
                  <a:pt x="49659" y="0"/>
                  <a:pt x="68589" y="0"/>
                </a:cubicBezTo>
                <a:lnTo>
                  <a:pt x="174423" y="0"/>
                </a:lnTo>
                <a:cubicBezTo>
                  <a:pt x="174901" y="0"/>
                  <a:pt x="175368" y="64"/>
                  <a:pt x="175832" y="127"/>
                </a:cubicBezTo>
                <a:cubicBezTo>
                  <a:pt x="176168" y="173"/>
                  <a:pt x="176503" y="218"/>
                  <a:pt x="176840" y="240"/>
                </a:cubicBezTo>
                <a:cubicBezTo>
                  <a:pt x="180527" y="497"/>
                  <a:pt x="184162" y="1200"/>
                  <a:pt x="187540" y="2606"/>
                </a:cubicBezTo>
                <a:cubicBezTo>
                  <a:pt x="188525" y="3026"/>
                  <a:pt x="189457" y="3566"/>
                  <a:pt x="190387" y="4104"/>
                </a:cubicBezTo>
                <a:cubicBezTo>
                  <a:pt x="190673" y="4269"/>
                  <a:pt x="190958" y="4434"/>
                  <a:pt x="191244" y="4595"/>
                </a:cubicBezTo>
                <a:cubicBezTo>
                  <a:pt x="191510" y="4741"/>
                  <a:pt x="191784" y="4874"/>
                  <a:pt x="192059" y="5008"/>
                </a:cubicBezTo>
                <a:cubicBezTo>
                  <a:pt x="192532" y="5238"/>
                  <a:pt x="193005" y="5469"/>
                  <a:pt x="193439" y="5762"/>
                </a:cubicBezTo>
                <a:cubicBezTo>
                  <a:pt x="194777" y="6670"/>
                  <a:pt x="195977" y="7751"/>
                  <a:pt x="197194" y="8848"/>
                </a:cubicBezTo>
                <a:cubicBezTo>
                  <a:pt x="197392" y="9023"/>
                  <a:pt x="197602" y="9185"/>
                  <a:pt x="197817" y="9349"/>
                </a:cubicBezTo>
                <a:cubicBezTo>
                  <a:pt x="198105" y="9570"/>
                  <a:pt x="198395" y="9792"/>
                  <a:pt x="198652" y="10048"/>
                </a:cubicBezTo>
                <a:lnTo>
                  <a:pt x="298604" y="109983"/>
                </a:lnTo>
                <a:cubicBezTo>
                  <a:pt x="305034" y="116413"/>
                  <a:pt x="308652" y="125141"/>
                  <a:pt x="308652" y="134229"/>
                </a:cubicBezTo>
                <a:lnTo>
                  <a:pt x="308652" y="308652"/>
                </a:lnTo>
                <a:cubicBezTo>
                  <a:pt x="308652" y="327583"/>
                  <a:pt x="293288" y="342947"/>
                  <a:pt x="274357" y="342947"/>
                </a:cubicBezTo>
                <a:lnTo>
                  <a:pt x="68589" y="342947"/>
                </a:lnTo>
                <a:cubicBezTo>
                  <a:pt x="49659" y="342947"/>
                  <a:pt x="34295" y="327583"/>
                  <a:pt x="34295" y="308652"/>
                </a:cubicBezTo>
                <a:lnTo>
                  <a:pt x="34295" y="244350"/>
                </a:lnTo>
                <a:cubicBezTo>
                  <a:pt x="34295" y="237247"/>
                  <a:pt x="40053" y="231489"/>
                  <a:pt x="47155" y="231489"/>
                </a:cubicBezTo>
                <a:cubicBezTo>
                  <a:pt x="54258" y="231489"/>
                  <a:pt x="60016" y="237247"/>
                  <a:pt x="60016" y="244350"/>
                </a:cubicBezTo>
                <a:lnTo>
                  <a:pt x="60016" y="308652"/>
                </a:lnTo>
                <a:cubicBezTo>
                  <a:pt x="60016" y="313368"/>
                  <a:pt x="63857" y="317226"/>
                  <a:pt x="68589" y="317226"/>
                </a:cubicBezTo>
                <a:lnTo>
                  <a:pt x="274357" y="317226"/>
                </a:lnTo>
                <a:close/>
                <a:moveTo>
                  <a:pt x="263692" y="111458"/>
                </a:moveTo>
                <a:lnTo>
                  <a:pt x="197194" y="44943"/>
                </a:lnTo>
                <a:lnTo>
                  <a:pt x="197194" y="102884"/>
                </a:lnTo>
                <a:cubicBezTo>
                  <a:pt x="197194" y="107600"/>
                  <a:pt x="201035" y="111458"/>
                  <a:pt x="205768" y="111458"/>
                </a:cubicBezTo>
                <a:lnTo>
                  <a:pt x="263692" y="111458"/>
                </a:lnTo>
                <a:close/>
                <a:moveTo>
                  <a:pt x="12861" y="188621"/>
                </a:moveTo>
                <a:lnTo>
                  <a:pt x="55816" y="188621"/>
                </a:lnTo>
                <a:lnTo>
                  <a:pt x="82509" y="127729"/>
                </a:lnTo>
                <a:cubicBezTo>
                  <a:pt x="86773" y="118001"/>
                  <a:pt x="100063" y="117507"/>
                  <a:pt x="105265" y="126170"/>
                </a:cubicBezTo>
                <a:lnTo>
                  <a:pt x="105363" y="126333"/>
                </a:lnTo>
                <a:lnTo>
                  <a:pt x="106226" y="128111"/>
                </a:lnTo>
                <a:lnTo>
                  <a:pt x="147606" y="231450"/>
                </a:lnTo>
                <a:lnTo>
                  <a:pt x="172070" y="195444"/>
                </a:lnTo>
                <a:cubicBezTo>
                  <a:pt x="173980" y="191848"/>
                  <a:pt x="177463" y="189399"/>
                  <a:pt x="181422" y="188777"/>
                </a:cubicBezTo>
                <a:lnTo>
                  <a:pt x="181606" y="188748"/>
                </a:lnTo>
                <a:lnTo>
                  <a:pt x="183427" y="188619"/>
                </a:lnTo>
                <a:lnTo>
                  <a:pt x="217720" y="188619"/>
                </a:lnTo>
                <a:cubicBezTo>
                  <a:pt x="224822" y="188619"/>
                  <a:pt x="230580" y="194377"/>
                  <a:pt x="230580" y="201479"/>
                </a:cubicBezTo>
                <a:cubicBezTo>
                  <a:pt x="230580" y="207920"/>
                  <a:pt x="225844" y="213260"/>
                  <a:pt x="219659" y="214196"/>
                </a:cubicBezTo>
                <a:lnTo>
                  <a:pt x="219482" y="214222"/>
                </a:lnTo>
                <a:lnTo>
                  <a:pt x="217720" y="214340"/>
                </a:lnTo>
                <a:lnTo>
                  <a:pt x="191069" y="214340"/>
                </a:lnTo>
                <a:lnTo>
                  <a:pt x="157140" y="267390"/>
                </a:lnTo>
                <a:cubicBezTo>
                  <a:pt x="152421" y="276415"/>
                  <a:pt x="139749" y="276484"/>
                  <a:pt x="134747" y="268088"/>
                </a:cubicBezTo>
                <a:lnTo>
                  <a:pt x="134651" y="267929"/>
                </a:lnTo>
                <a:lnTo>
                  <a:pt x="133814" y="266195"/>
                </a:lnTo>
                <a:lnTo>
                  <a:pt x="93751" y="166147"/>
                </a:lnTo>
                <a:lnTo>
                  <a:pt x="75999" y="206644"/>
                </a:lnTo>
                <a:cubicBezTo>
                  <a:pt x="74345" y="210418"/>
                  <a:pt x="71015" y="213114"/>
                  <a:pt x="67108" y="214014"/>
                </a:cubicBezTo>
                <a:cubicBezTo>
                  <a:pt x="66847" y="214074"/>
                  <a:pt x="66584" y="214126"/>
                  <a:pt x="66319" y="214170"/>
                </a:cubicBezTo>
                <a:lnTo>
                  <a:pt x="66128" y="214201"/>
                </a:lnTo>
                <a:lnTo>
                  <a:pt x="64220" y="214342"/>
                </a:lnTo>
                <a:lnTo>
                  <a:pt x="12861" y="214342"/>
                </a:lnTo>
                <a:cubicBezTo>
                  <a:pt x="5758" y="214342"/>
                  <a:pt x="0" y="208584"/>
                  <a:pt x="0" y="201481"/>
                </a:cubicBezTo>
                <a:cubicBezTo>
                  <a:pt x="0" y="195041"/>
                  <a:pt x="4736" y="189701"/>
                  <a:pt x="10921" y="188766"/>
                </a:cubicBezTo>
                <a:lnTo>
                  <a:pt x="11097" y="188739"/>
                </a:lnTo>
                <a:lnTo>
                  <a:pt x="12861" y="188621"/>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7423673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E85BE5-D409-99C2-D9E4-1FE59CE21DB0}"/>
            </a:ext>
          </a:extLst>
        </p:cNvPr>
        <p:cNvGrpSpPr/>
        <p:nvPr/>
      </p:nvGrpSpPr>
      <p:grpSpPr>
        <a:xfrm>
          <a:off x="0" y="0"/>
          <a:ext cx="0" cy="0"/>
          <a:chOff x="0" y="0"/>
          <a:chExt cx="0" cy="0"/>
        </a:xfrm>
      </p:grpSpPr>
      <p:sp>
        <p:nvSpPr>
          <p:cNvPr id="191" name="Title 190">
            <a:extLst>
              <a:ext uri="{FF2B5EF4-FFF2-40B4-BE49-F238E27FC236}">
                <a16:creationId xmlns:a16="http://schemas.microsoft.com/office/drawing/2014/main" id="{F1914FE9-7518-C0F7-6BEB-ED0EF4117034}"/>
              </a:ext>
            </a:extLst>
          </p:cNvPr>
          <p:cNvSpPr>
            <a:spLocks noGrp="1"/>
          </p:cNvSpPr>
          <p:nvPr>
            <p:ph type="title"/>
          </p:nvPr>
        </p:nvSpPr>
        <p:spPr/>
        <p:txBody>
          <a:bodyPr/>
          <a:lstStyle/>
          <a:p>
            <a:r>
              <a:rPr lang="en-US" noProof="0" dirty="0"/>
              <a:t>Identify new product and supplier options</a:t>
            </a:r>
          </a:p>
        </p:txBody>
      </p:sp>
      <p:sp>
        <p:nvSpPr>
          <p:cNvPr id="46" name="Text Placeholder 45">
            <a:extLst>
              <a:ext uri="{FF2B5EF4-FFF2-40B4-BE49-F238E27FC236}">
                <a16:creationId xmlns:a16="http://schemas.microsoft.com/office/drawing/2014/main" id="{EF0658D9-5352-CD2B-66AA-F506092654E4}"/>
              </a:ext>
            </a:extLst>
          </p:cNvPr>
          <p:cNvSpPr>
            <a:spLocks noGrp="1"/>
          </p:cNvSpPr>
          <p:nvPr>
            <p:ph type="body" sz="quarter" idx="33"/>
          </p:nvPr>
        </p:nvSpPr>
        <p:spPr/>
        <p:txBody>
          <a:bodyPr/>
          <a:lstStyle/>
          <a:p>
            <a:r>
              <a:rPr lang="en-US" noProof="0" dirty="0"/>
              <a:t>Retail</a:t>
            </a:r>
            <a:endParaRPr lang="en-IN" dirty="0"/>
          </a:p>
        </p:txBody>
      </p:sp>
      <p:sp>
        <p:nvSpPr>
          <p:cNvPr id="78" name="Text Placeholder 5">
            <a:extLst>
              <a:ext uri="{FF2B5EF4-FFF2-40B4-BE49-F238E27FC236}">
                <a16:creationId xmlns:a16="http://schemas.microsoft.com/office/drawing/2014/main" id="{D32440C9-5CA4-363D-F6EC-0F9B1EE1996E}"/>
              </a:ext>
            </a:extLst>
          </p:cNvPr>
          <p:cNvSpPr>
            <a:spLocks noGrp="1"/>
          </p:cNvSpPr>
          <p:nvPr>
            <p:ph type="body" sz="quarter" idx="44"/>
          </p:nvPr>
        </p:nvSpPr>
        <p:spPr/>
        <p:txBody>
          <a:bodyPr/>
          <a:lstStyle/>
          <a:p>
            <a:r>
              <a:rPr lang="en-US" noProof="0" dirty="0"/>
              <a:t>Microsoft 365 Copilot Chat</a:t>
            </a:r>
          </a:p>
        </p:txBody>
      </p:sp>
      <p:sp>
        <p:nvSpPr>
          <p:cNvPr id="84" name="Text Placeholder 10">
            <a:extLst>
              <a:ext uri="{FF2B5EF4-FFF2-40B4-BE49-F238E27FC236}">
                <a16:creationId xmlns:a16="http://schemas.microsoft.com/office/drawing/2014/main" id="{E6767A7E-6C74-4215-467C-14748C45D347}"/>
              </a:ext>
            </a:extLst>
          </p:cNvPr>
          <p:cNvSpPr>
            <a:spLocks noGrp="1"/>
          </p:cNvSpPr>
          <p:nvPr>
            <p:ph type="body" sz="quarter" idx="43"/>
          </p:nvPr>
        </p:nvSpPr>
        <p:spPr/>
        <p:txBody>
          <a:bodyPr vert="horz" wrap="square" lIns="0" tIns="0" rIns="0" bIns="0" rtlCol="0" anchor="t">
            <a:spAutoFit/>
          </a:bodyPr>
          <a:lstStyle/>
          <a:p>
            <a:r>
              <a:rPr lang="en-US" noProof="0" dirty="0"/>
              <a:t>Start</a:t>
            </a:r>
          </a:p>
        </p:txBody>
      </p:sp>
      <p:sp>
        <p:nvSpPr>
          <p:cNvPr id="317" name="Text Placeholder 316">
            <a:extLst>
              <a:ext uri="{FF2B5EF4-FFF2-40B4-BE49-F238E27FC236}">
                <a16:creationId xmlns:a16="http://schemas.microsoft.com/office/drawing/2014/main" id="{7EBB54E3-27BC-1EF5-0731-0B95B9E279BE}"/>
              </a:ext>
            </a:extLst>
          </p:cNvPr>
          <p:cNvSpPr>
            <a:spLocks noGrp="1"/>
          </p:cNvSpPr>
          <p:nvPr>
            <p:ph type="body" sz="quarter" idx="42"/>
          </p:nvPr>
        </p:nvSpPr>
        <p:spPr/>
        <p:txBody>
          <a:bodyPr/>
          <a:lstStyle/>
          <a:p>
            <a:r>
              <a:rPr lang="en-US" noProof="0" dirty="0"/>
              <a:t>Merchandising teams can use Copilot Chat to identify new products to carry in stores.</a:t>
            </a:r>
          </a:p>
        </p:txBody>
      </p:sp>
      <p:sp>
        <p:nvSpPr>
          <p:cNvPr id="625" name="Text Placeholder 624">
            <a:extLst>
              <a:ext uri="{FF2B5EF4-FFF2-40B4-BE49-F238E27FC236}">
                <a16:creationId xmlns:a16="http://schemas.microsoft.com/office/drawing/2014/main" id="{AEB285D6-61C3-6312-F66E-F993D13EA67B}"/>
              </a:ext>
            </a:extLst>
          </p:cNvPr>
          <p:cNvSpPr>
            <a:spLocks noGrp="1"/>
          </p:cNvSpPr>
          <p:nvPr>
            <p:ph type="body" sz="quarter" idx="65"/>
          </p:nvPr>
        </p:nvSpPr>
        <p:spPr/>
        <p:txBody>
          <a:bodyPr/>
          <a:lstStyle/>
          <a:p>
            <a:r>
              <a:rPr lang="en-US" noProof="0"/>
              <a:t>KPIs impacted</a:t>
            </a:r>
          </a:p>
        </p:txBody>
      </p:sp>
      <p:sp>
        <p:nvSpPr>
          <p:cNvPr id="624" name="Text Placeholder 623">
            <a:extLst>
              <a:ext uri="{FF2B5EF4-FFF2-40B4-BE49-F238E27FC236}">
                <a16:creationId xmlns:a16="http://schemas.microsoft.com/office/drawing/2014/main" id="{03AE6659-8818-A8A7-D3B6-07C19FCBF096}"/>
              </a:ext>
            </a:extLst>
          </p:cNvPr>
          <p:cNvSpPr>
            <a:spLocks noGrp="1"/>
          </p:cNvSpPr>
          <p:nvPr>
            <p:ph type="body" sz="quarter" idx="64"/>
          </p:nvPr>
        </p:nvSpPr>
        <p:spPr/>
        <p:txBody>
          <a:bodyPr/>
          <a:lstStyle/>
          <a:p>
            <a:r>
              <a:rPr lang="en-US" noProof="0"/>
              <a:t>Value benefit</a:t>
            </a:r>
          </a:p>
        </p:txBody>
      </p:sp>
      <p:sp>
        <p:nvSpPr>
          <p:cNvPr id="264" name="Text Placeholder 263">
            <a:extLst>
              <a:ext uri="{FF2B5EF4-FFF2-40B4-BE49-F238E27FC236}">
                <a16:creationId xmlns:a16="http://schemas.microsoft.com/office/drawing/2014/main" id="{2E7D2369-9576-AC95-A378-40E0F48028D8}"/>
              </a:ext>
            </a:extLst>
          </p:cNvPr>
          <p:cNvSpPr>
            <a:spLocks noGrp="1"/>
          </p:cNvSpPr>
          <p:nvPr>
            <p:ph type="body" sz="quarter" idx="47"/>
          </p:nvPr>
        </p:nvSpPr>
        <p:spPr/>
        <p:txBody>
          <a:bodyPr/>
          <a:lstStyle/>
          <a:p>
            <a:r>
              <a:rPr lang="en-US" noProof="0" dirty="0"/>
              <a:t>Identify new product options</a:t>
            </a:r>
          </a:p>
        </p:txBody>
      </p:sp>
      <p:sp>
        <p:nvSpPr>
          <p:cNvPr id="259" name="Text Placeholder 258">
            <a:extLst>
              <a:ext uri="{FF2B5EF4-FFF2-40B4-BE49-F238E27FC236}">
                <a16:creationId xmlns:a16="http://schemas.microsoft.com/office/drawing/2014/main" id="{EA2A1899-7D37-A498-174A-BB5BFC6CE71E}"/>
              </a:ext>
            </a:extLst>
          </p:cNvPr>
          <p:cNvSpPr>
            <a:spLocks noGrp="1"/>
          </p:cNvSpPr>
          <p:nvPr>
            <p:ph type="body" sz="quarter" idx="48"/>
          </p:nvPr>
        </p:nvSpPr>
        <p:spPr/>
        <p:txBody>
          <a:bodyPr/>
          <a:lstStyle/>
          <a:p>
            <a:r>
              <a:rPr lang="en-US" dirty="0"/>
              <a:t>Ask Copilot to create a table rating potential suppliers based on a set of criteria.</a:t>
            </a:r>
            <a:endParaRPr lang="en-US" noProof="0" dirty="0"/>
          </a:p>
        </p:txBody>
      </p:sp>
      <p:sp>
        <p:nvSpPr>
          <p:cNvPr id="89" name="Text Placeholder 88">
            <a:extLst>
              <a:ext uri="{FF2B5EF4-FFF2-40B4-BE49-F238E27FC236}">
                <a16:creationId xmlns:a16="http://schemas.microsoft.com/office/drawing/2014/main" id="{4CFB4B50-3D7D-6878-E458-C72A54E8A9B5}"/>
              </a:ext>
            </a:extLst>
          </p:cNvPr>
          <p:cNvSpPr>
            <a:spLocks noGrp="1"/>
          </p:cNvSpPr>
          <p:nvPr>
            <p:ph type="body" sz="quarter" idx="46"/>
          </p:nvPr>
        </p:nvSpPr>
        <p:spPr/>
        <p:txBody>
          <a:bodyPr/>
          <a:lstStyle/>
          <a:p>
            <a:r>
              <a:rPr lang="en-US" noProof="0" dirty="0"/>
              <a:t>Benefit: Quickly find new potential suppliers with an initial set of criteria to support further research.</a:t>
            </a:r>
            <a:endParaRPr kumimoji="0" lang="en-US" sz="900" b="0" i="0" u="none" strike="noStrike" kern="1200" cap="none" spc="0" normalizeH="0" baseline="0" noProof="0" dirty="0">
              <a:ln>
                <a:noFill/>
              </a:ln>
              <a:solidFill>
                <a:srgbClr val="000000"/>
              </a:solidFill>
              <a:effectLst/>
              <a:uLnTx/>
              <a:uFillTx/>
              <a:latin typeface="Segoe UI"/>
              <a:ea typeface="+mn-ea"/>
              <a:cs typeface="+mn-cs"/>
            </a:endParaRPr>
          </a:p>
          <a:p>
            <a:endParaRPr lang="en-US" noProof="0" dirty="0"/>
          </a:p>
        </p:txBody>
      </p:sp>
      <p:sp>
        <p:nvSpPr>
          <p:cNvPr id="375" name="Text Placeholder 374">
            <a:extLst>
              <a:ext uri="{FF2B5EF4-FFF2-40B4-BE49-F238E27FC236}">
                <a16:creationId xmlns:a16="http://schemas.microsoft.com/office/drawing/2014/main" id="{D643EC35-2513-D5B8-6F08-0D7BA89B26FC}"/>
              </a:ext>
            </a:extLst>
          </p:cNvPr>
          <p:cNvSpPr>
            <a:spLocks noGrp="1"/>
          </p:cNvSpPr>
          <p:nvPr>
            <p:ph type="body" sz="quarter" idx="49"/>
          </p:nvPr>
        </p:nvSpPr>
        <p:spPr/>
        <p:txBody>
          <a:bodyPr/>
          <a:lstStyle/>
          <a:p>
            <a:r>
              <a:rPr lang="en-US" dirty="0"/>
              <a:t>Assess firm viability</a:t>
            </a:r>
            <a:endParaRPr lang="en-US" noProof="0" dirty="0"/>
          </a:p>
        </p:txBody>
      </p:sp>
      <p:sp>
        <p:nvSpPr>
          <p:cNvPr id="393" name="Text Placeholder 392">
            <a:extLst>
              <a:ext uri="{FF2B5EF4-FFF2-40B4-BE49-F238E27FC236}">
                <a16:creationId xmlns:a16="http://schemas.microsoft.com/office/drawing/2014/main" id="{20CBA2C5-090D-E8C7-C342-DDFF0E7DDFB8}"/>
              </a:ext>
            </a:extLst>
          </p:cNvPr>
          <p:cNvSpPr>
            <a:spLocks noGrp="1"/>
          </p:cNvSpPr>
          <p:nvPr>
            <p:ph type="body" sz="quarter" idx="50"/>
          </p:nvPr>
        </p:nvSpPr>
        <p:spPr/>
        <p:txBody>
          <a:bodyPr/>
          <a:lstStyle/>
          <a:p>
            <a:r>
              <a:rPr lang="en-US" noProof="0" dirty="0"/>
              <a:t>Ask Copilot to summarize supplier annual reports and ESG reports. Also identify any recent acquisitions or divestitures.</a:t>
            </a:r>
          </a:p>
        </p:txBody>
      </p:sp>
      <p:sp>
        <p:nvSpPr>
          <p:cNvPr id="291" name="Text Placeholder 290">
            <a:extLst>
              <a:ext uri="{FF2B5EF4-FFF2-40B4-BE49-F238E27FC236}">
                <a16:creationId xmlns:a16="http://schemas.microsoft.com/office/drawing/2014/main" id="{BA2471A6-EDB0-0BED-73C9-941497E1AFDD}"/>
              </a:ext>
            </a:extLst>
          </p:cNvPr>
          <p:cNvSpPr>
            <a:spLocks noGrp="1"/>
          </p:cNvSpPr>
          <p:nvPr>
            <p:ph type="body" sz="quarter" idx="66"/>
          </p:nvPr>
        </p:nvSpPr>
        <p:spPr/>
        <p:txBody>
          <a:bodyPr/>
          <a:lstStyle/>
          <a:p>
            <a:r>
              <a:rPr lang="en-US" noProof="0" dirty="0"/>
              <a:t>Benefit: Ensure that suppliers meet your organization’s criteria for financial viability or have required certifications.</a:t>
            </a:r>
            <a:endParaRPr kumimoji="0" lang="en-US" sz="900" b="0" i="0" u="none" strike="noStrike" kern="1200" cap="none" spc="0" normalizeH="0" baseline="0" noProof="0" dirty="0">
              <a:ln>
                <a:noFill/>
              </a:ln>
              <a:solidFill>
                <a:srgbClr val="000000"/>
              </a:solidFill>
              <a:effectLst/>
              <a:uLnTx/>
              <a:uFillTx/>
              <a:latin typeface="Segoe UI"/>
              <a:ea typeface="+mn-ea"/>
              <a:cs typeface="+mn-cs"/>
            </a:endParaRPr>
          </a:p>
          <a:p>
            <a:endParaRPr lang="en-US" noProof="0" dirty="0"/>
          </a:p>
        </p:txBody>
      </p:sp>
      <p:sp>
        <p:nvSpPr>
          <p:cNvPr id="376" name="Text Placeholder 375">
            <a:extLst>
              <a:ext uri="{FF2B5EF4-FFF2-40B4-BE49-F238E27FC236}">
                <a16:creationId xmlns:a16="http://schemas.microsoft.com/office/drawing/2014/main" id="{2553090F-B4CB-9519-58F6-EA0B91A82E80}"/>
              </a:ext>
            </a:extLst>
          </p:cNvPr>
          <p:cNvSpPr>
            <a:spLocks noGrp="1"/>
          </p:cNvSpPr>
          <p:nvPr>
            <p:ph type="body" sz="quarter" idx="52"/>
          </p:nvPr>
        </p:nvSpPr>
        <p:spPr/>
        <p:txBody>
          <a:bodyPr/>
          <a:lstStyle/>
          <a:p>
            <a:r>
              <a:rPr lang="en-US" dirty="0"/>
              <a:t>Research online sentiment</a:t>
            </a:r>
            <a:endParaRPr lang="en-US" noProof="0" dirty="0"/>
          </a:p>
        </p:txBody>
      </p:sp>
      <p:sp>
        <p:nvSpPr>
          <p:cNvPr id="395" name="Text Placeholder 394">
            <a:extLst>
              <a:ext uri="{FF2B5EF4-FFF2-40B4-BE49-F238E27FC236}">
                <a16:creationId xmlns:a16="http://schemas.microsoft.com/office/drawing/2014/main" id="{BB4DA64A-4F56-8396-36CD-C432691588B1}"/>
              </a:ext>
            </a:extLst>
          </p:cNvPr>
          <p:cNvSpPr>
            <a:spLocks noGrp="1"/>
          </p:cNvSpPr>
          <p:nvPr>
            <p:ph type="body" sz="quarter" idx="53"/>
          </p:nvPr>
        </p:nvSpPr>
        <p:spPr/>
        <p:txBody>
          <a:bodyPr/>
          <a:lstStyle/>
          <a:p>
            <a:r>
              <a:rPr lang="en-US" noProof="0" dirty="0"/>
              <a:t>Have Copilot provide an assessment of customer satisfaction for the potential suppliers.</a:t>
            </a:r>
          </a:p>
        </p:txBody>
      </p:sp>
      <p:sp>
        <p:nvSpPr>
          <p:cNvPr id="293" name="Text Placeholder 292">
            <a:extLst>
              <a:ext uri="{FF2B5EF4-FFF2-40B4-BE49-F238E27FC236}">
                <a16:creationId xmlns:a16="http://schemas.microsoft.com/office/drawing/2014/main" id="{EF72D4EC-6C0E-D53E-9082-6A0E98D30B62}"/>
              </a:ext>
            </a:extLst>
          </p:cNvPr>
          <p:cNvSpPr>
            <a:spLocks noGrp="1"/>
          </p:cNvSpPr>
          <p:nvPr>
            <p:ph type="body" sz="quarter" idx="67"/>
          </p:nvPr>
        </p:nvSpPr>
        <p:spPr/>
        <p:txBody>
          <a:bodyPr/>
          <a:lstStyle/>
          <a:p>
            <a:r>
              <a:rPr lang="en-US" noProof="0" dirty="0"/>
              <a:t>Benefit: Use Copilot to speed research into potential quality and service issues.</a:t>
            </a:r>
          </a:p>
        </p:txBody>
      </p:sp>
      <p:sp>
        <p:nvSpPr>
          <p:cNvPr id="322" name="Text Placeholder 321">
            <a:extLst>
              <a:ext uri="{FF2B5EF4-FFF2-40B4-BE49-F238E27FC236}">
                <a16:creationId xmlns:a16="http://schemas.microsoft.com/office/drawing/2014/main" id="{376A6C11-1256-564F-47B3-CC80AD884030}"/>
              </a:ext>
            </a:extLst>
          </p:cNvPr>
          <p:cNvSpPr>
            <a:spLocks noGrp="1"/>
          </p:cNvSpPr>
          <p:nvPr>
            <p:ph type="body" sz="quarter" idx="61"/>
          </p:nvPr>
        </p:nvSpPr>
        <p:spPr/>
        <p:txBody>
          <a:bodyPr/>
          <a:lstStyle/>
          <a:p>
            <a:r>
              <a:rPr lang="en-US" noProof="0" dirty="0"/>
              <a:t>Research individual products</a:t>
            </a:r>
          </a:p>
        </p:txBody>
      </p:sp>
      <p:sp>
        <p:nvSpPr>
          <p:cNvPr id="329" name="Text Placeholder 328">
            <a:extLst>
              <a:ext uri="{FF2B5EF4-FFF2-40B4-BE49-F238E27FC236}">
                <a16:creationId xmlns:a16="http://schemas.microsoft.com/office/drawing/2014/main" id="{FB620EBE-D7AB-C323-AD44-C0565D4E505D}"/>
              </a:ext>
            </a:extLst>
          </p:cNvPr>
          <p:cNvSpPr>
            <a:spLocks noGrp="1"/>
          </p:cNvSpPr>
          <p:nvPr>
            <p:ph type="body" sz="quarter" idx="62"/>
          </p:nvPr>
        </p:nvSpPr>
        <p:spPr/>
        <p:txBody>
          <a:bodyPr/>
          <a:lstStyle/>
          <a:p>
            <a:r>
              <a:rPr lang="en-US" noProof="0" dirty="0"/>
              <a:t>Ask Copilot to verify whether suppliers or products meet specific industry criteria or capabilities.</a:t>
            </a:r>
          </a:p>
        </p:txBody>
      </p:sp>
      <p:sp>
        <p:nvSpPr>
          <p:cNvPr id="354" name="Text Placeholder 353">
            <a:extLst>
              <a:ext uri="{FF2B5EF4-FFF2-40B4-BE49-F238E27FC236}">
                <a16:creationId xmlns:a16="http://schemas.microsoft.com/office/drawing/2014/main" id="{331B74FF-8327-2DF1-0F00-970FB6A4F218}"/>
              </a:ext>
            </a:extLst>
          </p:cNvPr>
          <p:cNvSpPr>
            <a:spLocks noGrp="1"/>
          </p:cNvSpPr>
          <p:nvPr>
            <p:ph type="body" sz="quarter" idx="69"/>
          </p:nvPr>
        </p:nvSpPr>
        <p:spPr/>
        <p:txBody>
          <a:bodyPr/>
          <a:lstStyle/>
          <a:p>
            <a:r>
              <a:rPr lang="en-US" noProof="0" dirty="0"/>
              <a:t>Benefit: Summarize lengthy and potentially confusing product specifications to get the required information quickly.</a:t>
            </a:r>
            <a:endParaRPr kumimoji="0" lang="en-US" sz="900" b="0" i="0" u="none" strike="noStrike" kern="1200" cap="none" spc="0" normalizeH="0" baseline="0" noProof="0" dirty="0">
              <a:ln>
                <a:noFill/>
              </a:ln>
              <a:solidFill>
                <a:srgbClr val="000000"/>
              </a:solidFill>
              <a:effectLst/>
              <a:uLnTx/>
              <a:uFillTx/>
              <a:latin typeface="Segoe UI"/>
              <a:ea typeface="+mn-ea"/>
              <a:cs typeface="+mn-cs"/>
            </a:endParaRPr>
          </a:p>
          <a:p>
            <a:endParaRPr lang="en-US" noProof="0" dirty="0"/>
          </a:p>
        </p:txBody>
      </p:sp>
      <p:sp>
        <p:nvSpPr>
          <p:cNvPr id="320" name="Text Placeholder 319">
            <a:extLst>
              <a:ext uri="{FF2B5EF4-FFF2-40B4-BE49-F238E27FC236}">
                <a16:creationId xmlns:a16="http://schemas.microsoft.com/office/drawing/2014/main" id="{1A328F45-4E2F-5292-B714-7C549988DE38}"/>
              </a:ext>
            </a:extLst>
          </p:cNvPr>
          <p:cNvSpPr>
            <a:spLocks noGrp="1"/>
          </p:cNvSpPr>
          <p:nvPr>
            <p:ph type="body" sz="quarter" idx="58"/>
          </p:nvPr>
        </p:nvSpPr>
        <p:spPr/>
        <p:txBody>
          <a:bodyPr/>
          <a:lstStyle/>
          <a:p>
            <a:r>
              <a:rPr lang="en-US" noProof="0" dirty="0"/>
              <a:t>Draft RFx documents and communication</a:t>
            </a:r>
          </a:p>
        </p:txBody>
      </p:sp>
      <p:sp>
        <p:nvSpPr>
          <p:cNvPr id="327" name="Text Placeholder 326">
            <a:extLst>
              <a:ext uri="{FF2B5EF4-FFF2-40B4-BE49-F238E27FC236}">
                <a16:creationId xmlns:a16="http://schemas.microsoft.com/office/drawing/2014/main" id="{78993D4E-B409-2BF6-61AB-4FFE0108D56F}"/>
              </a:ext>
            </a:extLst>
          </p:cNvPr>
          <p:cNvSpPr>
            <a:spLocks noGrp="1"/>
          </p:cNvSpPr>
          <p:nvPr>
            <p:ph type="body" sz="quarter" idx="59"/>
          </p:nvPr>
        </p:nvSpPr>
        <p:spPr/>
        <p:txBody>
          <a:bodyPr/>
          <a:lstStyle/>
          <a:p>
            <a:r>
              <a:rPr lang="en-US" noProof="0" dirty="0"/>
              <a:t>Ask Copilot to draft communications such as approval requests, status emails, and supplier communications.</a:t>
            </a:r>
          </a:p>
        </p:txBody>
      </p:sp>
      <p:sp>
        <p:nvSpPr>
          <p:cNvPr id="321" name="Text Placeholder 320">
            <a:extLst>
              <a:ext uri="{FF2B5EF4-FFF2-40B4-BE49-F238E27FC236}">
                <a16:creationId xmlns:a16="http://schemas.microsoft.com/office/drawing/2014/main" id="{93D50690-E0DB-4A7A-6478-92A28054BB24}"/>
              </a:ext>
            </a:extLst>
          </p:cNvPr>
          <p:cNvSpPr>
            <a:spLocks noGrp="1"/>
          </p:cNvSpPr>
          <p:nvPr>
            <p:ph type="body" sz="quarter" idx="68"/>
          </p:nvPr>
        </p:nvSpPr>
        <p:spPr/>
        <p:txBody>
          <a:bodyPr/>
          <a:lstStyle/>
          <a:p>
            <a:r>
              <a:rPr lang="en-US" noProof="0" dirty="0"/>
              <a:t>Benefit: Get a first draft faster with Copilot by providing a few details and letting Copilot figure out the best way </a:t>
            </a:r>
            <a:br>
              <a:rPr lang="en-US" noProof="0" dirty="0"/>
            </a:br>
            <a:r>
              <a:rPr lang="en-US" noProof="0" dirty="0"/>
              <a:t>to say it.</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3"/>
              </a:rPr>
              <a:t>Try in Prompt Gallery: Kickstart a draft</a:t>
            </a:r>
            <a:endParaRPr kumimoji="0" lang="en-US" sz="900" b="0" i="0" u="none" strike="noStrike" kern="1200" cap="none" spc="0" normalizeH="0" baseline="0" noProof="0" dirty="0">
              <a:ln>
                <a:noFill/>
              </a:ln>
              <a:solidFill>
                <a:srgbClr val="000000"/>
              </a:solidFill>
              <a:effectLst/>
              <a:uLnTx/>
              <a:uFillTx/>
              <a:latin typeface="Segoe UI"/>
              <a:ea typeface="+mn-ea"/>
              <a:cs typeface="+mn-cs"/>
            </a:endParaRPr>
          </a:p>
          <a:p>
            <a:endParaRPr lang="en-US" noProof="0" dirty="0"/>
          </a:p>
        </p:txBody>
      </p:sp>
      <p:cxnSp>
        <p:nvCxnSpPr>
          <p:cNvPr id="24" name="Straight Connector 23">
            <a:extLst>
              <a:ext uri="{FF2B5EF4-FFF2-40B4-BE49-F238E27FC236}">
                <a16:creationId xmlns:a16="http://schemas.microsoft.com/office/drawing/2014/main" id="{AB387177-6CDF-2771-1A92-E5463173672F}"/>
              </a:ext>
            </a:extLst>
          </p:cNvPr>
          <p:cNvCxnSpPr>
            <a:cxnSpLocks/>
          </p:cNvCxnSpPr>
          <p:nvPr/>
        </p:nvCxnSpPr>
        <p:spPr>
          <a:xfrm>
            <a:off x="304800" y="3273981"/>
            <a:ext cx="2431246"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672E51E1-9DF5-4FB9-6DBE-0AF1A204FED6}"/>
              </a:ext>
            </a:extLst>
          </p:cNvPr>
          <p:cNvGrpSpPr/>
          <p:nvPr/>
        </p:nvGrpSpPr>
        <p:grpSpPr>
          <a:xfrm>
            <a:off x="320719" y="3778836"/>
            <a:ext cx="1771607" cy="504622"/>
            <a:chOff x="320719" y="4228589"/>
            <a:chExt cx="1771607" cy="504622"/>
          </a:xfrm>
        </p:grpSpPr>
        <p:grpSp>
          <p:nvGrpSpPr>
            <p:cNvPr id="421" name="Group 420">
              <a:extLst>
                <a:ext uri="{FF2B5EF4-FFF2-40B4-BE49-F238E27FC236}">
                  <a16:creationId xmlns:a16="http://schemas.microsoft.com/office/drawing/2014/main" id="{AB6376AA-0F59-CD43-0DA0-CA0780EB1C83}"/>
                </a:ext>
              </a:extLst>
            </p:cNvPr>
            <p:cNvGrpSpPr/>
            <p:nvPr/>
          </p:nvGrpSpPr>
          <p:grpSpPr>
            <a:xfrm>
              <a:off x="320719" y="4228589"/>
              <a:ext cx="1771605" cy="216000"/>
              <a:chOff x="320719" y="4224848"/>
              <a:chExt cx="1771605" cy="219456"/>
            </a:xfrm>
          </p:grpSpPr>
          <p:sp>
            <p:nvSpPr>
              <p:cNvPr id="422" name="Rectangle: Rounded Corners 6">
                <a:extLst>
                  <a:ext uri="{FF2B5EF4-FFF2-40B4-BE49-F238E27FC236}">
                    <a16:creationId xmlns:a16="http://schemas.microsoft.com/office/drawing/2014/main" id="{C0BEBC43-747B-5901-C822-9F712E9FDF13}"/>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78D4"/>
                    </a:solidFill>
                    <a:effectLst/>
                    <a:uLnTx/>
                    <a:uFillTx/>
                    <a:latin typeface="Segoe UI Semibold"/>
                    <a:ea typeface="+mn-ea"/>
                    <a:cs typeface="Segoe UI Semibold" panose="020B0702040204020203" pitchFamily="34" charset="0"/>
                  </a:rPr>
                  <a:t>Revenue per store</a:t>
                </a:r>
              </a:p>
            </p:txBody>
          </p:sp>
          <p:pic>
            <p:nvPicPr>
              <p:cNvPr id="423" name="Graphic 422">
                <a:extLst>
                  <a:ext uri="{FF2B5EF4-FFF2-40B4-BE49-F238E27FC236}">
                    <a16:creationId xmlns:a16="http://schemas.microsoft.com/office/drawing/2014/main" id="{4289248B-1A19-4337-9525-604201F41D9E}"/>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67506" y="4260849"/>
                <a:ext cx="144000" cy="144000"/>
              </a:xfrm>
              <a:prstGeom prst="rect">
                <a:avLst/>
              </a:prstGeom>
            </p:spPr>
          </p:pic>
        </p:grpSp>
        <p:grpSp>
          <p:nvGrpSpPr>
            <p:cNvPr id="534" name="Group 533">
              <a:extLst>
                <a:ext uri="{FF2B5EF4-FFF2-40B4-BE49-F238E27FC236}">
                  <a16:creationId xmlns:a16="http://schemas.microsoft.com/office/drawing/2014/main" id="{0554946F-9746-F2C9-2AA0-590D531D3BF5}"/>
                </a:ext>
              </a:extLst>
            </p:cNvPr>
            <p:cNvGrpSpPr/>
            <p:nvPr/>
          </p:nvGrpSpPr>
          <p:grpSpPr>
            <a:xfrm>
              <a:off x="320721" y="4517211"/>
              <a:ext cx="1771605" cy="216000"/>
              <a:chOff x="320721" y="4517211"/>
              <a:chExt cx="1771605" cy="216000"/>
            </a:xfrm>
          </p:grpSpPr>
          <p:sp>
            <p:nvSpPr>
              <p:cNvPr id="425" name="Rectangle: Rounded Corners 6">
                <a:extLst>
                  <a:ext uri="{FF2B5EF4-FFF2-40B4-BE49-F238E27FC236}">
                    <a16:creationId xmlns:a16="http://schemas.microsoft.com/office/drawing/2014/main" id="{A4D317AC-FBFA-E875-7662-16BE7631074C}"/>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78D4"/>
                    </a:solidFill>
                    <a:effectLst/>
                    <a:uLnTx/>
                    <a:uFillTx/>
                    <a:latin typeface="Segoe UI Semibold"/>
                    <a:ea typeface="+mn-ea"/>
                    <a:cs typeface="Segoe UI Semibold"/>
                  </a:rPr>
                  <a:t>Customer satisfaction</a:t>
                </a:r>
                <a:endParaRPr kumimoji="0" lang="en-US" sz="9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endParaRPr>
              </a:p>
            </p:txBody>
          </p:sp>
          <p:pic>
            <p:nvPicPr>
              <p:cNvPr id="426" name="Graphic 425">
                <a:extLst>
                  <a:ext uri="{FF2B5EF4-FFF2-40B4-BE49-F238E27FC236}">
                    <a16:creationId xmlns:a16="http://schemas.microsoft.com/office/drawing/2014/main" id="{E0858FFE-B9C3-590C-2094-02C1022DDC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7507" y="4552645"/>
                <a:ext cx="144000" cy="141732"/>
              </a:xfrm>
              <a:prstGeom prst="rect">
                <a:avLst/>
              </a:prstGeom>
            </p:spPr>
          </p:pic>
        </p:grpSp>
      </p:grpSp>
      <p:grpSp>
        <p:nvGrpSpPr>
          <p:cNvPr id="427" name="Group 426">
            <a:extLst>
              <a:ext uri="{FF2B5EF4-FFF2-40B4-BE49-F238E27FC236}">
                <a16:creationId xmlns:a16="http://schemas.microsoft.com/office/drawing/2014/main" id="{C1C8FB64-5A6E-8C37-A9DD-28B26C0D4235}"/>
              </a:ext>
            </a:extLst>
          </p:cNvPr>
          <p:cNvGrpSpPr/>
          <p:nvPr/>
        </p:nvGrpSpPr>
        <p:grpSpPr>
          <a:xfrm>
            <a:off x="320719" y="5020658"/>
            <a:ext cx="1771605" cy="216000"/>
            <a:chOff x="320719" y="5270676"/>
            <a:chExt cx="1771605" cy="216000"/>
          </a:xfrm>
        </p:grpSpPr>
        <p:sp>
          <p:nvSpPr>
            <p:cNvPr id="428" name="Rectangle: Rounded Corners 6">
              <a:extLst>
                <a:ext uri="{FF2B5EF4-FFF2-40B4-BE49-F238E27FC236}">
                  <a16:creationId xmlns:a16="http://schemas.microsoft.com/office/drawing/2014/main" id="{7F2B5CEB-D118-4B52-1265-21112E45C4E7}"/>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429" name="Graphic 428">
              <a:extLst>
                <a:ext uri="{FF2B5EF4-FFF2-40B4-BE49-F238E27FC236}">
                  <a16:creationId xmlns:a16="http://schemas.microsoft.com/office/drawing/2014/main" id="{72D85175-B361-CABE-E1F6-233E9932F17C}"/>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5" y="5306676"/>
              <a:ext cx="144000" cy="144000"/>
            </a:xfrm>
            <a:prstGeom prst="rect">
              <a:avLst/>
            </a:prstGeom>
          </p:spPr>
        </p:pic>
      </p:grpSp>
      <p:sp>
        <p:nvSpPr>
          <p:cNvPr id="28" name="TextBox 27">
            <a:extLst>
              <a:ext uri="{FF2B5EF4-FFF2-40B4-BE49-F238E27FC236}">
                <a16:creationId xmlns:a16="http://schemas.microsoft.com/office/drawing/2014/main" id="{908B36D1-1454-FD9B-DDF3-D40559EE8D83}"/>
              </a:ext>
              <a:ext uri="{C183D7F6-B498-43B3-948B-1728B52AA6E4}">
                <adec:decorative xmlns:adec="http://schemas.microsoft.com/office/drawing/2017/decorative" val="0"/>
              </a:ext>
            </a:extLst>
          </p:cNvPr>
          <p:cNvSpPr txBox="1"/>
          <p:nvPr/>
        </p:nvSpPr>
        <p:spPr>
          <a:xfrm>
            <a:off x="4887621" y="488446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29" name="Picture 50">
            <a:hlinkClick r:id="rId8"/>
            <a:extLst>
              <a:ext uri="{FF2B5EF4-FFF2-40B4-BE49-F238E27FC236}">
                <a16:creationId xmlns:a16="http://schemas.microsoft.com/office/drawing/2014/main" id="{A013A798-B268-DBE3-901F-F3C851BE3A9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09019" y="4840226"/>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2B0854A1-2000-DD67-90F7-FA6217E1CC6D}"/>
              </a:ext>
              <a:ext uri="{C183D7F6-B498-43B3-948B-1728B52AA6E4}">
                <adec:decorative xmlns:adec="http://schemas.microsoft.com/office/drawing/2017/decorative" val="0"/>
              </a:ext>
            </a:extLst>
          </p:cNvPr>
          <p:cNvSpPr txBox="1"/>
          <p:nvPr/>
        </p:nvSpPr>
        <p:spPr>
          <a:xfrm>
            <a:off x="8358695" y="488446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34" name="Picture 50">
            <a:hlinkClick r:id="rId8"/>
            <a:extLst>
              <a:ext uri="{FF2B5EF4-FFF2-40B4-BE49-F238E27FC236}">
                <a16:creationId xmlns:a16="http://schemas.microsoft.com/office/drawing/2014/main" id="{E4018FC0-3C3F-604F-FFDF-B9D0F3D73FB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80093" y="4840226"/>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D4D653AA-17A6-E00B-08D8-E3B367B24B39}"/>
              </a:ext>
              <a:ext uri="{C183D7F6-B498-43B3-948B-1728B52AA6E4}">
                <adec:decorative xmlns:adec="http://schemas.microsoft.com/office/drawing/2017/decorative" val="0"/>
              </a:ext>
            </a:extLst>
          </p:cNvPr>
          <p:cNvSpPr txBox="1"/>
          <p:nvPr/>
        </p:nvSpPr>
        <p:spPr>
          <a:xfrm>
            <a:off x="6722684"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37" name="Picture 50">
            <a:hlinkClick r:id="rId8"/>
            <a:extLst>
              <a:ext uri="{FF2B5EF4-FFF2-40B4-BE49-F238E27FC236}">
                <a16:creationId xmlns:a16="http://schemas.microsoft.com/office/drawing/2014/main" id="{C8F0AF1E-4D2E-8DCF-A7A1-594598B5394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44082"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85DFC4BB-0087-9112-CB1E-50E7B0161793}"/>
              </a:ext>
              <a:ext uri="{C183D7F6-B498-43B3-948B-1728B52AA6E4}">
                <adec:decorative xmlns:adec="http://schemas.microsoft.com/office/drawing/2017/decorative" val="0"/>
              </a:ext>
            </a:extLst>
          </p:cNvPr>
          <p:cNvSpPr txBox="1"/>
          <p:nvPr/>
        </p:nvSpPr>
        <p:spPr>
          <a:xfrm>
            <a:off x="3838891"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40" name="Picture 50">
            <a:hlinkClick r:id="rId8"/>
            <a:extLst>
              <a:ext uri="{FF2B5EF4-FFF2-40B4-BE49-F238E27FC236}">
                <a16:creationId xmlns:a16="http://schemas.microsoft.com/office/drawing/2014/main" id="{218D6BB2-BBAE-AAC0-B154-9CD4F084A77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60289"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1D95F6DE-742F-4B0D-CA85-2AA020924E05}"/>
              </a:ext>
              <a:ext uri="{C183D7F6-B498-43B3-948B-1728B52AA6E4}">
                <adec:decorative xmlns:adec="http://schemas.microsoft.com/office/drawing/2017/decorative" val="0"/>
              </a:ext>
            </a:extLst>
          </p:cNvPr>
          <p:cNvSpPr txBox="1"/>
          <p:nvPr/>
        </p:nvSpPr>
        <p:spPr>
          <a:xfrm>
            <a:off x="9606477"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43" name="Picture 50">
            <a:hlinkClick r:id="rId8"/>
            <a:extLst>
              <a:ext uri="{FF2B5EF4-FFF2-40B4-BE49-F238E27FC236}">
                <a16:creationId xmlns:a16="http://schemas.microsoft.com/office/drawing/2014/main" id="{E79F1B45-22FC-5C54-CD6E-BC051182A57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27875"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548058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163597-F508-6D27-33E6-0DE87814F8C0}"/>
            </a:ext>
          </a:extLst>
        </p:cNvPr>
        <p:cNvGrpSpPr/>
        <p:nvPr/>
      </p:nvGrpSpPr>
      <p:grpSpPr>
        <a:xfrm>
          <a:off x="0" y="0"/>
          <a:ext cx="0" cy="0"/>
          <a:chOff x="0" y="0"/>
          <a:chExt cx="0" cy="0"/>
        </a:xfrm>
      </p:grpSpPr>
      <p:sp>
        <p:nvSpPr>
          <p:cNvPr id="156" name="Text Placeholder 155">
            <a:extLst>
              <a:ext uri="{FF2B5EF4-FFF2-40B4-BE49-F238E27FC236}">
                <a16:creationId xmlns:a16="http://schemas.microsoft.com/office/drawing/2014/main" id="{A6DC498A-020C-99F5-0FEA-C9A12F2846E3}"/>
              </a:ext>
            </a:extLst>
          </p:cNvPr>
          <p:cNvSpPr>
            <a:spLocks noGrp="1"/>
          </p:cNvSpPr>
          <p:nvPr>
            <p:ph type="body" sz="quarter" idx="32"/>
          </p:nvPr>
        </p:nvSpPr>
        <p:spPr>
          <a:xfrm>
            <a:off x="311388" y="1026303"/>
            <a:ext cx="2431246" cy="1131079"/>
          </a:xfrm>
        </p:spPr>
        <p:txBody>
          <a:bodyPr/>
          <a:lstStyle/>
          <a:p>
            <a:r>
              <a:rPr lang="en-US" dirty="0"/>
              <a:t>Creating great promotional content is essential for retailers. Copilot Chat can play a huge role in assisting marketers across all aspects of creating marketing materials to speed development and improve content quality.</a:t>
            </a:r>
          </a:p>
          <a:p>
            <a:endParaRPr lang="en-US" dirty="0"/>
          </a:p>
          <a:p>
            <a:r>
              <a:rPr lang="en-US" sz="1050" noProof="0" dirty="0">
                <a:latin typeface="+mj-lt"/>
              </a:rPr>
              <a:t>Customer reference: </a:t>
            </a:r>
            <a:r>
              <a:rPr lang="en-US" sz="1050" noProof="0" dirty="0">
                <a:hlinkClick r:id="rId2"/>
              </a:rPr>
              <a:t>Joos uses Copilot to grow its brand</a:t>
            </a:r>
            <a:endParaRPr lang="en-US" sz="1050" noProof="0" dirty="0"/>
          </a:p>
          <a:p>
            <a:endParaRPr lang="en-US" noProof="0" dirty="0"/>
          </a:p>
        </p:txBody>
      </p:sp>
      <p:sp>
        <p:nvSpPr>
          <p:cNvPr id="49" name="Text Placeholder 48">
            <a:extLst>
              <a:ext uri="{FF2B5EF4-FFF2-40B4-BE49-F238E27FC236}">
                <a16:creationId xmlns:a16="http://schemas.microsoft.com/office/drawing/2014/main" id="{E97F85F2-F60F-1E32-5BBC-F2CF882E9FF2}"/>
              </a:ext>
            </a:extLst>
          </p:cNvPr>
          <p:cNvSpPr>
            <a:spLocks noGrp="1"/>
          </p:cNvSpPr>
          <p:nvPr>
            <p:ph type="body" sz="quarter" idx="33"/>
          </p:nvPr>
        </p:nvSpPr>
        <p:spPr>
          <a:xfrm>
            <a:off x="304796" y="413987"/>
            <a:ext cx="2057403" cy="307777"/>
          </a:xfrm>
        </p:spPr>
        <p:txBody>
          <a:bodyPr/>
          <a:lstStyle/>
          <a:p>
            <a:r>
              <a:rPr lang="en-US" dirty="0"/>
              <a:t>Retail</a:t>
            </a:r>
          </a:p>
        </p:txBody>
      </p:sp>
      <p:sp>
        <p:nvSpPr>
          <p:cNvPr id="43" name="Text Placeholder 42">
            <a:extLst>
              <a:ext uri="{FF2B5EF4-FFF2-40B4-BE49-F238E27FC236}">
                <a16:creationId xmlns:a16="http://schemas.microsoft.com/office/drawing/2014/main" id="{E4CA4C53-CAFA-ACAA-8E25-A5AF4974A2C0}"/>
              </a:ext>
            </a:extLst>
          </p:cNvPr>
          <p:cNvSpPr>
            <a:spLocks noGrp="1"/>
          </p:cNvSpPr>
          <p:nvPr>
            <p:ph type="body" sz="quarter" idx="30"/>
          </p:nvPr>
        </p:nvSpPr>
        <p:spPr>
          <a:xfrm>
            <a:off x="10430351" y="521099"/>
            <a:ext cx="1456966" cy="175614"/>
          </a:xfrm>
        </p:spPr>
        <p:txBody>
          <a:bodyPr/>
          <a:lstStyle/>
          <a:p>
            <a:r>
              <a:rPr lang="en-US" noProof="0" dirty="0"/>
              <a:t>Start</a:t>
            </a:r>
          </a:p>
        </p:txBody>
      </p:sp>
      <p:sp>
        <p:nvSpPr>
          <p:cNvPr id="41" name="Text Placeholder 40">
            <a:extLst>
              <a:ext uri="{FF2B5EF4-FFF2-40B4-BE49-F238E27FC236}">
                <a16:creationId xmlns:a16="http://schemas.microsoft.com/office/drawing/2014/main" id="{9E486556-4C90-8BE3-1478-17AF714907F3}"/>
              </a:ext>
            </a:extLst>
          </p:cNvPr>
          <p:cNvSpPr>
            <a:spLocks noGrp="1"/>
          </p:cNvSpPr>
          <p:nvPr>
            <p:ph type="body" sz="quarter" idx="17"/>
          </p:nvPr>
        </p:nvSpPr>
        <p:spPr>
          <a:xfrm>
            <a:off x="7149557" y="521100"/>
            <a:ext cx="2969488" cy="169277"/>
          </a:xfrm>
        </p:spPr>
        <p:txBody>
          <a:bodyPr/>
          <a:lstStyle/>
          <a:p>
            <a:r>
              <a:rPr lang="en-US" noProof="0" dirty="0"/>
              <a:t>Microsoft 365 Copilot Chat</a:t>
            </a:r>
          </a:p>
        </p:txBody>
      </p:sp>
      <p:sp>
        <p:nvSpPr>
          <p:cNvPr id="38" name="Title 37">
            <a:extLst>
              <a:ext uri="{FF2B5EF4-FFF2-40B4-BE49-F238E27FC236}">
                <a16:creationId xmlns:a16="http://schemas.microsoft.com/office/drawing/2014/main" id="{A9E38DCA-B96D-EEEE-5F63-A9027910761C}"/>
              </a:ext>
            </a:extLst>
          </p:cNvPr>
          <p:cNvSpPr>
            <a:spLocks noGrp="1"/>
          </p:cNvSpPr>
          <p:nvPr>
            <p:ph type="title"/>
          </p:nvPr>
        </p:nvSpPr>
        <p:spPr>
          <a:xfrm>
            <a:off x="2492375" y="429032"/>
            <a:ext cx="4144963" cy="276999"/>
          </a:xfrm>
        </p:spPr>
        <p:txBody>
          <a:bodyPr/>
          <a:lstStyle/>
          <a:p>
            <a:r>
              <a:rPr lang="en-US" dirty="0"/>
              <a:t>Creating promotional materials</a:t>
            </a:r>
          </a:p>
        </p:txBody>
      </p:sp>
      <p:sp>
        <p:nvSpPr>
          <p:cNvPr id="62" name="Text Placeholder 61">
            <a:extLst>
              <a:ext uri="{FF2B5EF4-FFF2-40B4-BE49-F238E27FC236}">
                <a16:creationId xmlns:a16="http://schemas.microsoft.com/office/drawing/2014/main" id="{429BFF1D-E12E-F0C6-4D9E-1502D7769243}"/>
              </a:ext>
            </a:extLst>
          </p:cNvPr>
          <p:cNvSpPr>
            <a:spLocks noGrp="1"/>
          </p:cNvSpPr>
          <p:nvPr>
            <p:ph type="body" sz="quarter" idx="69"/>
          </p:nvPr>
        </p:nvSpPr>
        <p:spPr>
          <a:xfrm>
            <a:off x="3182890" y="2725494"/>
            <a:ext cx="2572262" cy="712876"/>
          </a:xfrm>
        </p:spPr>
        <p:txBody>
          <a:bodyPr/>
          <a:lstStyle/>
          <a:p>
            <a:r>
              <a:rPr lang="en-US" noProof="0"/>
              <a:t>Prompt: Identify 10 SEO keywords for a blog post to attract people ages 20–30 who want to reduce their carbon footprint.</a:t>
            </a:r>
          </a:p>
        </p:txBody>
      </p:sp>
      <p:sp>
        <p:nvSpPr>
          <p:cNvPr id="39" name="Text Placeholder 38">
            <a:extLst>
              <a:ext uri="{FF2B5EF4-FFF2-40B4-BE49-F238E27FC236}">
                <a16:creationId xmlns:a16="http://schemas.microsoft.com/office/drawing/2014/main" id="{87F7E941-333C-58A5-A054-5F5DF85A4257}"/>
              </a:ext>
            </a:extLst>
          </p:cNvPr>
          <p:cNvSpPr>
            <a:spLocks noGrp="1"/>
          </p:cNvSpPr>
          <p:nvPr>
            <p:ph type="body" sz="quarter" idx="11"/>
          </p:nvPr>
        </p:nvSpPr>
        <p:spPr>
          <a:xfrm>
            <a:off x="3182890" y="1112478"/>
            <a:ext cx="2572262" cy="153888"/>
          </a:xfrm>
        </p:spPr>
        <p:txBody>
          <a:bodyPr/>
          <a:lstStyle/>
          <a:p>
            <a:r>
              <a:rPr lang="en-US" noProof="0" dirty="0"/>
              <a:t>SEO optimization</a:t>
            </a:r>
          </a:p>
        </p:txBody>
      </p:sp>
      <p:sp>
        <p:nvSpPr>
          <p:cNvPr id="42" name="Text Placeholder 41">
            <a:extLst>
              <a:ext uri="{FF2B5EF4-FFF2-40B4-BE49-F238E27FC236}">
                <a16:creationId xmlns:a16="http://schemas.microsoft.com/office/drawing/2014/main" id="{8D6ACAA2-0926-BF8B-D7C7-FBCE23BD80B8}"/>
              </a:ext>
            </a:extLst>
          </p:cNvPr>
          <p:cNvSpPr>
            <a:spLocks noGrp="1"/>
          </p:cNvSpPr>
          <p:nvPr>
            <p:ph type="body" sz="quarter" idx="18"/>
          </p:nvPr>
        </p:nvSpPr>
        <p:spPr>
          <a:xfrm>
            <a:off x="3182890" y="1438715"/>
            <a:ext cx="2572262" cy="626701"/>
          </a:xfrm>
        </p:spPr>
        <p:txBody>
          <a:bodyPr/>
          <a:lstStyle/>
          <a:p>
            <a:r>
              <a:rPr lang="en-US" noProof="0"/>
              <a:t>Already have a content topic you want to write about but don’t know where to start? Use Copilot to identify the top SEO keywords to reach your audience. </a:t>
            </a:r>
          </a:p>
          <a:p>
            <a:endParaRPr lang="en-US" noProof="0"/>
          </a:p>
        </p:txBody>
      </p:sp>
      <p:sp>
        <p:nvSpPr>
          <p:cNvPr id="51" name="Text Placeholder 50">
            <a:extLst>
              <a:ext uri="{FF2B5EF4-FFF2-40B4-BE49-F238E27FC236}">
                <a16:creationId xmlns:a16="http://schemas.microsoft.com/office/drawing/2014/main" id="{F9A509F7-6B0B-AB3A-B8DA-27C7BA6C0676}"/>
              </a:ext>
            </a:extLst>
          </p:cNvPr>
          <p:cNvSpPr>
            <a:spLocks noGrp="1"/>
          </p:cNvSpPr>
          <p:nvPr>
            <p:ph type="body" sz="quarter" idx="42"/>
          </p:nvPr>
        </p:nvSpPr>
        <p:spPr>
          <a:xfrm>
            <a:off x="6066682" y="1112478"/>
            <a:ext cx="2572262" cy="153888"/>
          </a:xfrm>
        </p:spPr>
        <p:txBody>
          <a:bodyPr/>
          <a:lstStyle/>
          <a:p>
            <a:r>
              <a:rPr lang="en-US" noProof="0"/>
              <a:t>Content generation</a:t>
            </a:r>
          </a:p>
        </p:txBody>
      </p:sp>
      <p:sp>
        <p:nvSpPr>
          <p:cNvPr id="52" name="Text Placeholder 51">
            <a:extLst>
              <a:ext uri="{FF2B5EF4-FFF2-40B4-BE49-F238E27FC236}">
                <a16:creationId xmlns:a16="http://schemas.microsoft.com/office/drawing/2014/main" id="{96067C3B-33E8-CDCB-A8FD-F234AFC17524}"/>
              </a:ext>
            </a:extLst>
          </p:cNvPr>
          <p:cNvSpPr>
            <a:spLocks noGrp="1"/>
          </p:cNvSpPr>
          <p:nvPr>
            <p:ph type="body" sz="quarter" idx="43"/>
          </p:nvPr>
        </p:nvSpPr>
        <p:spPr>
          <a:xfrm>
            <a:off x="6066682" y="1438715"/>
            <a:ext cx="2572262" cy="626701"/>
          </a:xfrm>
        </p:spPr>
        <p:txBody>
          <a:bodyPr/>
          <a:lstStyle/>
          <a:p>
            <a:r>
              <a:rPr lang="en-US" noProof="0"/>
              <a:t>Once you have your list of top 10 SEO keywords, use Copilot to create specific content for your business needs.</a:t>
            </a:r>
          </a:p>
          <a:p>
            <a:endParaRPr lang="en-US" noProof="0"/>
          </a:p>
        </p:txBody>
      </p:sp>
      <p:sp>
        <p:nvSpPr>
          <p:cNvPr id="56" name="Text Placeholder 55">
            <a:extLst>
              <a:ext uri="{FF2B5EF4-FFF2-40B4-BE49-F238E27FC236}">
                <a16:creationId xmlns:a16="http://schemas.microsoft.com/office/drawing/2014/main" id="{81F33BDF-037A-9A42-C255-6B1B35A10AAC}"/>
              </a:ext>
            </a:extLst>
          </p:cNvPr>
          <p:cNvSpPr>
            <a:spLocks noGrp="1"/>
          </p:cNvSpPr>
          <p:nvPr>
            <p:ph type="body" sz="quarter" idx="68"/>
          </p:nvPr>
        </p:nvSpPr>
        <p:spPr>
          <a:xfrm>
            <a:off x="8950475" y="2725494"/>
            <a:ext cx="2572262" cy="712876"/>
          </a:xfrm>
        </p:spPr>
        <p:txBody>
          <a:bodyPr/>
          <a:lstStyle/>
          <a:p>
            <a:r>
              <a:rPr lang="en-US"/>
              <a:t>Prompt: </a:t>
            </a:r>
            <a:r>
              <a:rPr lang="en-US" noProof="0"/>
              <a:t>Proofread this with Chicago Style grammar rules.</a:t>
            </a:r>
          </a:p>
        </p:txBody>
      </p:sp>
      <p:sp>
        <p:nvSpPr>
          <p:cNvPr id="54" name="Text Placeholder 53">
            <a:extLst>
              <a:ext uri="{FF2B5EF4-FFF2-40B4-BE49-F238E27FC236}">
                <a16:creationId xmlns:a16="http://schemas.microsoft.com/office/drawing/2014/main" id="{272C1D96-3C82-C219-B723-D39A2059E2BB}"/>
              </a:ext>
            </a:extLst>
          </p:cNvPr>
          <p:cNvSpPr>
            <a:spLocks noGrp="1"/>
          </p:cNvSpPr>
          <p:nvPr>
            <p:ph type="body" sz="quarter" idx="45"/>
          </p:nvPr>
        </p:nvSpPr>
        <p:spPr>
          <a:xfrm>
            <a:off x="8950475" y="1112478"/>
            <a:ext cx="2572262" cy="153888"/>
          </a:xfrm>
        </p:spPr>
        <p:txBody>
          <a:bodyPr/>
          <a:lstStyle/>
          <a:p>
            <a:r>
              <a:rPr lang="en-US" noProof="0"/>
              <a:t>Proofread</a:t>
            </a:r>
          </a:p>
        </p:txBody>
      </p:sp>
      <p:sp>
        <p:nvSpPr>
          <p:cNvPr id="55" name="Text Placeholder 54">
            <a:extLst>
              <a:ext uri="{FF2B5EF4-FFF2-40B4-BE49-F238E27FC236}">
                <a16:creationId xmlns:a16="http://schemas.microsoft.com/office/drawing/2014/main" id="{0322F24D-6A7A-EB4B-E3F2-B6E02698C875}"/>
              </a:ext>
            </a:extLst>
          </p:cNvPr>
          <p:cNvSpPr>
            <a:spLocks noGrp="1"/>
          </p:cNvSpPr>
          <p:nvPr>
            <p:ph type="body" sz="quarter" idx="46"/>
          </p:nvPr>
        </p:nvSpPr>
        <p:spPr>
          <a:xfrm>
            <a:off x="8950475" y="1438715"/>
            <a:ext cx="2572262" cy="626701"/>
          </a:xfrm>
        </p:spPr>
        <p:txBody>
          <a:bodyPr/>
          <a:lstStyle/>
          <a:p>
            <a:r>
              <a:rPr lang="en-US" noProof="0"/>
              <a:t>Once you have your draft, use Copilot to proofread your work with specific grammar rules in mind. </a:t>
            </a:r>
          </a:p>
          <a:p>
            <a:endParaRPr lang="en-US" noProof="0"/>
          </a:p>
        </p:txBody>
      </p:sp>
      <p:sp>
        <p:nvSpPr>
          <p:cNvPr id="129" name="Text Placeholder 128">
            <a:extLst>
              <a:ext uri="{FF2B5EF4-FFF2-40B4-BE49-F238E27FC236}">
                <a16:creationId xmlns:a16="http://schemas.microsoft.com/office/drawing/2014/main" id="{985C8A3D-525B-1665-0844-73224AA383B5}"/>
              </a:ext>
            </a:extLst>
          </p:cNvPr>
          <p:cNvSpPr>
            <a:spLocks noGrp="1"/>
          </p:cNvSpPr>
          <p:nvPr>
            <p:ph type="body" sz="quarter" idx="70"/>
          </p:nvPr>
        </p:nvSpPr>
        <p:spPr>
          <a:xfrm>
            <a:off x="6066682" y="2725494"/>
            <a:ext cx="2572262" cy="712876"/>
          </a:xfrm>
        </p:spPr>
        <p:txBody>
          <a:bodyPr/>
          <a:lstStyle/>
          <a:p>
            <a:r>
              <a:rPr lang="en-US" dirty="0"/>
              <a:t>Prompt: </a:t>
            </a:r>
            <a:r>
              <a:rPr lang="en-US" noProof="0" dirty="0"/>
              <a:t>Create a flyer for an upcoming Winter sale featuring the following brands and items.</a:t>
            </a:r>
          </a:p>
        </p:txBody>
      </p:sp>
      <p:sp>
        <p:nvSpPr>
          <p:cNvPr id="57" name="Text Placeholder 56">
            <a:extLst>
              <a:ext uri="{FF2B5EF4-FFF2-40B4-BE49-F238E27FC236}">
                <a16:creationId xmlns:a16="http://schemas.microsoft.com/office/drawing/2014/main" id="{E89E7C45-D7BF-BA39-8133-60C86B96FBC7}"/>
              </a:ext>
            </a:extLst>
          </p:cNvPr>
          <p:cNvSpPr>
            <a:spLocks noGrp="1"/>
          </p:cNvSpPr>
          <p:nvPr>
            <p:ph type="body" sz="quarter" idx="48"/>
          </p:nvPr>
        </p:nvSpPr>
        <p:spPr>
          <a:xfrm>
            <a:off x="3182890" y="5334522"/>
            <a:ext cx="2572262" cy="712876"/>
          </a:xfrm>
        </p:spPr>
        <p:txBody>
          <a:bodyPr/>
          <a:lstStyle/>
          <a:p>
            <a:r>
              <a:rPr lang="en-US"/>
              <a:t>Prompt: </a:t>
            </a:r>
            <a:r>
              <a:rPr lang="en-US" noProof="0"/>
              <a:t>Create a 100-word blurb from the draft you helped me create that I can post on LinkedIn. The caption should be friendly and informative and add relevant emojis. </a:t>
            </a:r>
          </a:p>
        </p:txBody>
      </p:sp>
      <p:sp>
        <p:nvSpPr>
          <p:cNvPr id="58" name="Text Placeholder 57">
            <a:extLst>
              <a:ext uri="{FF2B5EF4-FFF2-40B4-BE49-F238E27FC236}">
                <a16:creationId xmlns:a16="http://schemas.microsoft.com/office/drawing/2014/main" id="{6A6C0258-A160-E26D-1025-68C4D9745744}"/>
              </a:ext>
            </a:extLst>
          </p:cNvPr>
          <p:cNvSpPr>
            <a:spLocks noGrp="1"/>
          </p:cNvSpPr>
          <p:nvPr>
            <p:ph type="body" sz="quarter" idx="49"/>
          </p:nvPr>
        </p:nvSpPr>
        <p:spPr>
          <a:xfrm>
            <a:off x="3182890" y="3725103"/>
            <a:ext cx="2572262" cy="153888"/>
          </a:xfrm>
        </p:spPr>
        <p:txBody>
          <a:bodyPr/>
          <a:lstStyle/>
          <a:p>
            <a:r>
              <a:rPr lang="en-US" noProof="0"/>
              <a:t>Create social content</a:t>
            </a:r>
          </a:p>
        </p:txBody>
      </p:sp>
      <p:sp>
        <p:nvSpPr>
          <p:cNvPr id="59" name="Text Placeholder 58">
            <a:extLst>
              <a:ext uri="{FF2B5EF4-FFF2-40B4-BE49-F238E27FC236}">
                <a16:creationId xmlns:a16="http://schemas.microsoft.com/office/drawing/2014/main" id="{3A0B5D9A-183B-15C7-1B88-FEB9331C9510}"/>
              </a:ext>
            </a:extLst>
          </p:cNvPr>
          <p:cNvSpPr>
            <a:spLocks noGrp="1"/>
          </p:cNvSpPr>
          <p:nvPr>
            <p:ph type="body" sz="quarter" idx="50"/>
          </p:nvPr>
        </p:nvSpPr>
        <p:spPr>
          <a:xfrm>
            <a:off x="3182890" y="4050957"/>
            <a:ext cx="2572262" cy="626701"/>
          </a:xfrm>
        </p:spPr>
        <p:txBody>
          <a:bodyPr/>
          <a:lstStyle/>
          <a:p>
            <a:r>
              <a:rPr lang="en-US" noProof="0"/>
              <a:t>Ask Copilot to repurpose the draft it helped you create into posts for any social media platform.</a:t>
            </a:r>
          </a:p>
          <a:p>
            <a:endParaRPr lang="en-US" noProof="0"/>
          </a:p>
        </p:txBody>
      </p:sp>
      <p:sp>
        <p:nvSpPr>
          <p:cNvPr id="60" name="Text Placeholder 59">
            <a:extLst>
              <a:ext uri="{FF2B5EF4-FFF2-40B4-BE49-F238E27FC236}">
                <a16:creationId xmlns:a16="http://schemas.microsoft.com/office/drawing/2014/main" id="{99DEE856-5D74-2FC2-A132-3C2BB4D074BC}"/>
              </a:ext>
            </a:extLst>
          </p:cNvPr>
          <p:cNvSpPr>
            <a:spLocks noGrp="1"/>
          </p:cNvSpPr>
          <p:nvPr>
            <p:ph type="body" sz="quarter" idx="51"/>
          </p:nvPr>
        </p:nvSpPr>
        <p:spPr>
          <a:xfrm>
            <a:off x="6066682" y="3725103"/>
            <a:ext cx="2572262" cy="153888"/>
          </a:xfrm>
        </p:spPr>
        <p:txBody>
          <a:bodyPr/>
          <a:lstStyle/>
          <a:p>
            <a:r>
              <a:rPr lang="en-US" noProof="0"/>
              <a:t>Grab attention with headlines</a:t>
            </a:r>
          </a:p>
        </p:txBody>
      </p:sp>
      <p:sp>
        <p:nvSpPr>
          <p:cNvPr id="61" name="Text Placeholder 60">
            <a:extLst>
              <a:ext uri="{FF2B5EF4-FFF2-40B4-BE49-F238E27FC236}">
                <a16:creationId xmlns:a16="http://schemas.microsoft.com/office/drawing/2014/main" id="{5EE46244-164E-BA93-2DE7-5EE558FDEF3D}"/>
              </a:ext>
            </a:extLst>
          </p:cNvPr>
          <p:cNvSpPr>
            <a:spLocks noGrp="1"/>
          </p:cNvSpPr>
          <p:nvPr>
            <p:ph type="body" sz="quarter" idx="52"/>
          </p:nvPr>
        </p:nvSpPr>
        <p:spPr>
          <a:xfrm>
            <a:off x="6066682" y="4050957"/>
            <a:ext cx="2572262" cy="626701"/>
          </a:xfrm>
        </p:spPr>
        <p:txBody>
          <a:bodyPr/>
          <a:lstStyle/>
          <a:p>
            <a:r>
              <a:rPr lang="en-US" noProof="0"/>
              <a:t>Use Copilot to turn the top keywords into </a:t>
            </a:r>
            <a:br>
              <a:rPr lang="en-US" noProof="0"/>
            </a:br>
            <a:r>
              <a:rPr lang="en-US" noProof="0"/>
              <a:t>a headline and section headings.</a:t>
            </a:r>
          </a:p>
          <a:p>
            <a:endParaRPr lang="en-US" noProof="0"/>
          </a:p>
        </p:txBody>
      </p:sp>
      <p:sp>
        <p:nvSpPr>
          <p:cNvPr id="50" name="Text Placeholder 49">
            <a:extLst>
              <a:ext uri="{FF2B5EF4-FFF2-40B4-BE49-F238E27FC236}">
                <a16:creationId xmlns:a16="http://schemas.microsoft.com/office/drawing/2014/main" id="{F3619CF9-84EE-3B6F-1961-74AA8B96A881}"/>
              </a:ext>
            </a:extLst>
          </p:cNvPr>
          <p:cNvSpPr>
            <a:spLocks noGrp="1"/>
          </p:cNvSpPr>
          <p:nvPr>
            <p:ph type="body" sz="quarter" idx="66"/>
          </p:nvPr>
        </p:nvSpPr>
        <p:spPr>
          <a:xfrm>
            <a:off x="8950475" y="5334522"/>
            <a:ext cx="2572262" cy="712876"/>
          </a:xfrm>
        </p:spPr>
        <p:txBody>
          <a:bodyPr/>
          <a:lstStyle/>
          <a:p>
            <a:r>
              <a:rPr lang="en-US"/>
              <a:t>Prompt: </a:t>
            </a:r>
            <a:r>
              <a:rPr lang="en-US" noProof="0"/>
              <a:t>Create a photo-realistic image </a:t>
            </a:r>
            <a:br>
              <a:rPr lang="en-US" noProof="0"/>
            </a:br>
            <a:r>
              <a:rPr lang="en-US" noProof="0"/>
              <a:t>of strawberries splashing into water to </a:t>
            </a:r>
            <a:br>
              <a:rPr lang="en-US" noProof="0"/>
            </a:br>
            <a:r>
              <a:rPr lang="en-US" noProof="0"/>
              <a:t>announce my clean-beauty company’s </a:t>
            </a:r>
            <a:br>
              <a:rPr lang="en-US" noProof="0"/>
            </a:br>
            <a:r>
              <a:rPr lang="en-US" noProof="0"/>
              <a:t>new hydrating lip oil launch. </a:t>
            </a:r>
          </a:p>
        </p:txBody>
      </p:sp>
      <p:sp>
        <p:nvSpPr>
          <p:cNvPr id="63" name="Text Placeholder 62">
            <a:extLst>
              <a:ext uri="{FF2B5EF4-FFF2-40B4-BE49-F238E27FC236}">
                <a16:creationId xmlns:a16="http://schemas.microsoft.com/office/drawing/2014/main" id="{2D0633D0-3636-6B79-B0DF-A2775F69E0FE}"/>
              </a:ext>
            </a:extLst>
          </p:cNvPr>
          <p:cNvSpPr>
            <a:spLocks noGrp="1"/>
          </p:cNvSpPr>
          <p:nvPr>
            <p:ph type="body" sz="quarter" idx="54"/>
          </p:nvPr>
        </p:nvSpPr>
        <p:spPr>
          <a:xfrm>
            <a:off x="8950475" y="3725103"/>
            <a:ext cx="2572262" cy="153888"/>
          </a:xfrm>
        </p:spPr>
        <p:txBody>
          <a:bodyPr/>
          <a:lstStyle/>
          <a:p>
            <a:r>
              <a:rPr lang="en-US" noProof="0"/>
              <a:t>Add images</a:t>
            </a:r>
          </a:p>
        </p:txBody>
      </p:sp>
      <p:sp>
        <p:nvSpPr>
          <p:cNvPr id="128" name="Text Placeholder 127">
            <a:extLst>
              <a:ext uri="{FF2B5EF4-FFF2-40B4-BE49-F238E27FC236}">
                <a16:creationId xmlns:a16="http://schemas.microsoft.com/office/drawing/2014/main" id="{A39154F4-34F3-9A36-72D1-8A8E0476829F}"/>
              </a:ext>
            </a:extLst>
          </p:cNvPr>
          <p:cNvSpPr>
            <a:spLocks noGrp="1"/>
          </p:cNvSpPr>
          <p:nvPr>
            <p:ph type="body" sz="quarter" idx="55"/>
          </p:nvPr>
        </p:nvSpPr>
        <p:spPr>
          <a:xfrm>
            <a:off x="8950475" y="4050957"/>
            <a:ext cx="2572262" cy="626701"/>
          </a:xfrm>
        </p:spPr>
        <p:txBody>
          <a:bodyPr/>
          <a:lstStyle/>
          <a:p>
            <a:r>
              <a:rPr lang="en-US" noProof="0"/>
              <a:t>Enhance your content by using Copilot to create unique images for your project. </a:t>
            </a:r>
          </a:p>
          <a:p>
            <a:endParaRPr lang="en-US" noProof="0"/>
          </a:p>
        </p:txBody>
      </p:sp>
      <p:sp>
        <p:nvSpPr>
          <p:cNvPr id="53" name="Text Placeholder 52">
            <a:extLst>
              <a:ext uri="{FF2B5EF4-FFF2-40B4-BE49-F238E27FC236}">
                <a16:creationId xmlns:a16="http://schemas.microsoft.com/office/drawing/2014/main" id="{6904DD5D-16EA-5489-1F92-AF2FB9650DCB}"/>
              </a:ext>
            </a:extLst>
          </p:cNvPr>
          <p:cNvSpPr>
            <a:spLocks noGrp="1"/>
          </p:cNvSpPr>
          <p:nvPr>
            <p:ph type="body" sz="quarter" idx="67"/>
          </p:nvPr>
        </p:nvSpPr>
        <p:spPr>
          <a:xfrm>
            <a:off x="6066682" y="5334522"/>
            <a:ext cx="2572262" cy="712876"/>
          </a:xfrm>
        </p:spPr>
        <p:txBody>
          <a:bodyPr/>
          <a:lstStyle/>
          <a:p>
            <a:r>
              <a:rPr lang="en-US"/>
              <a:t>Prompt: </a:t>
            </a:r>
            <a:r>
              <a:rPr lang="en-US" noProof="0"/>
              <a:t>Provide me five options for headlines using each of these five keywords. </a:t>
            </a:r>
          </a:p>
        </p:txBody>
      </p:sp>
      <p:sp>
        <p:nvSpPr>
          <p:cNvPr id="130" name="Text Placeholder 129">
            <a:extLst>
              <a:ext uri="{FF2B5EF4-FFF2-40B4-BE49-F238E27FC236}">
                <a16:creationId xmlns:a16="http://schemas.microsoft.com/office/drawing/2014/main" id="{C169846A-F057-5EF8-851C-15E51529BF40}"/>
              </a:ext>
            </a:extLst>
          </p:cNvPr>
          <p:cNvSpPr>
            <a:spLocks noGrp="1"/>
          </p:cNvSpPr>
          <p:nvPr>
            <p:ph type="body" sz="quarter" idx="64"/>
          </p:nvPr>
        </p:nvSpPr>
        <p:spPr>
          <a:xfrm>
            <a:off x="320721" y="4709762"/>
            <a:ext cx="1131651" cy="219456"/>
          </a:xfrm>
        </p:spPr>
        <p:txBody>
          <a:bodyPr/>
          <a:lstStyle/>
          <a:p>
            <a:pPr lvl="0"/>
            <a:r>
              <a:rPr lang="en-US" noProof="0"/>
              <a:t>Value benefit</a:t>
            </a:r>
          </a:p>
        </p:txBody>
      </p:sp>
      <p:sp>
        <p:nvSpPr>
          <p:cNvPr id="131" name="Text Placeholder 130">
            <a:extLst>
              <a:ext uri="{FF2B5EF4-FFF2-40B4-BE49-F238E27FC236}">
                <a16:creationId xmlns:a16="http://schemas.microsoft.com/office/drawing/2014/main" id="{A4AC94C8-561D-7993-B2A6-23530054BE40}"/>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157" name="Group 156">
            <a:extLst>
              <a:ext uri="{FF2B5EF4-FFF2-40B4-BE49-F238E27FC236}">
                <a16:creationId xmlns:a16="http://schemas.microsoft.com/office/drawing/2014/main" id="{EE06E44F-20B7-9DF2-F4B2-7BE1FCAA850A}"/>
              </a:ext>
            </a:extLst>
          </p:cNvPr>
          <p:cNvGrpSpPr/>
          <p:nvPr/>
        </p:nvGrpSpPr>
        <p:grpSpPr>
          <a:xfrm>
            <a:off x="320719" y="5020658"/>
            <a:ext cx="1771605" cy="216000"/>
            <a:chOff x="320719" y="4224856"/>
            <a:chExt cx="1771605" cy="219456"/>
          </a:xfrm>
        </p:grpSpPr>
        <p:sp>
          <p:nvSpPr>
            <p:cNvPr id="158" name="Rectangle: Rounded Corners 6">
              <a:extLst>
                <a:ext uri="{FF2B5EF4-FFF2-40B4-BE49-F238E27FC236}">
                  <a16:creationId xmlns:a16="http://schemas.microsoft.com/office/drawing/2014/main" id="{0C8680BF-E979-DB3F-5CCC-B3A7CF1656AD}"/>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59" name="Graphic 158">
              <a:extLst>
                <a:ext uri="{FF2B5EF4-FFF2-40B4-BE49-F238E27FC236}">
                  <a16:creationId xmlns:a16="http://schemas.microsoft.com/office/drawing/2014/main" id="{AB38EEB0-4621-BDCB-9E7D-86ED7650E58C}"/>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7506" y="4260849"/>
              <a:ext cx="144000" cy="144000"/>
            </a:xfrm>
            <a:prstGeom prst="rect">
              <a:avLst/>
            </a:prstGeom>
          </p:spPr>
        </p:pic>
      </p:grpSp>
      <p:grpSp>
        <p:nvGrpSpPr>
          <p:cNvPr id="160" name="Group 159">
            <a:extLst>
              <a:ext uri="{FF2B5EF4-FFF2-40B4-BE49-F238E27FC236}">
                <a16:creationId xmlns:a16="http://schemas.microsoft.com/office/drawing/2014/main" id="{CE921530-6709-05FD-F957-4E85B7440719}"/>
              </a:ext>
            </a:extLst>
          </p:cNvPr>
          <p:cNvGrpSpPr/>
          <p:nvPr/>
        </p:nvGrpSpPr>
        <p:grpSpPr>
          <a:xfrm>
            <a:off x="320721" y="5309272"/>
            <a:ext cx="1771605" cy="216000"/>
            <a:chOff x="320721" y="4517211"/>
            <a:chExt cx="1771605" cy="216000"/>
          </a:xfrm>
        </p:grpSpPr>
        <p:sp>
          <p:nvSpPr>
            <p:cNvPr id="161" name="Rectangle: Rounded Corners 6">
              <a:extLst>
                <a:ext uri="{FF2B5EF4-FFF2-40B4-BE49-F238E27FC236}">
                  <a16:creationId xmlns:a16="http://schemas.microsoft.com/office/drawing/2014/main" id="{56173F40-B6A2-53FB-9E49-4696C5215BED}"/>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62" name="Graphic 161">
              <a:extLst>
                <a:ext uri="{FF2B5EF4-FFF2-40B4-BE49-F238E27FC236}">
                  <a16:creationId xmlns:a16="http://schemas.microsoft.com/office/drawing/2014/main" id="{665FB760-9628-4001-0EC1-AC0A9F5EEBD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7507" y="4552645"/>
              <a:ext cx="144000" cy="141732"/>
            </a:xfrm>
            <a:prstGeom prst="rect">
              <a:avLst/>
            </a:prstGeom>
          </p:spPr>
        </p:pic>
      </p:grpSp>
      <p:grpSp>
        <p:nvGrpSpPr>
          <p:cNvPr id="163" name="Group 162">
            <a:extLst>
              <a:ext uri="{FF2B5EF4-FFF2-40B4-BE49-F238E27FC236}">
                <a16:creationId xmlns:a16="http://schemas.microsoft.com/office/drawing/2014/main" id="{0F5143B6-2404-A4AF-FA16-597922959184}"/>
              </a:ext>
            </a:extLst>
          </p:cNvPr>
          <p:cNvGrpSpPr/>
          <p:nvPr/>
        </p:nvGrpSpPr>
        <p:grpSpPr>
          <a:xfrm>
            <a:off x="320719" y="3778836"/>
            <a:ext cx="1771605" cy="216000"/>
            <a:chOff x="320719" y="4224856"/>
            <a:chExt cx="1771605" cy="219456"/>
          </a:xfrm>
        </p:grpSpPr>
        <p:sp>
          <p:nvSpPr>
            <p:cNvPr id="164" name="Rectangle: Rounded Corners 6">
              <a:extLst>
                <a:ext uri="{FF2B5EF4-FFF2-40B4-BE49-F238E27FC236}">
                  <a16:creationId xmlns:a16="http://schemas.microsoft.com/office/drawing/2014/main" id="{71F0681D-7CBD-4E08-A543-98654DBDAB35}"/>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78D4"/>
                  </a:solidFill>
                  <a:effectLst/>
                  <a:uLnTx/>
                  <a:uFillTx/>
                  <a:latin typeface="Segoe UI Semibold"/>
                  <a:ea typeface="+mn-ea"/>
                  <a:cs typeface="Segoe UI Semibold" panose="020B0702040204020203" pitchFamily="34" charset="0"/>
                </a:rPr>
                <a:t>Sales conversion rate</a:t>
              </a:r>
            </a:p>
          </p:txBody>
        </p:sp>
        <p:pic>
          <p:nvPicPr>
            <p:cNvPr id="165" name="Graphic 164">
              <a:extLst>
                <a:ext uri="{FF2B5EF4-FFF2-40B4-BE49-F238E27FC236}">
                  <a16:creationId xmlns:a16="http://schemas.microsoft.com/office/drawing/2014/main" id="{D6A4FE95-444E-8538-7E9E-86CFCF0DD7B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4260849"/>
              <a:ext cx="144000" cy="144000"/>
            </a:xfrm>
            <a:prstGeom prst="rect">
              <a:avLst/>
            </a:prstGeom>
          </p:spPr>
        </p:pic>
      </p:grpSp>
      <p:grpSp>
        <p:nvGrpSpPr>
          <p:cNvPr id="166" name="Group 165">
            <a:extLst>
              <a:ext uri="{FF2B5EF4-FFF2-40B4-BE49-F238E27FC236}">
                <a16:creationId xmlns:a16="http://schemas.microsoft.com/office/drawing/2014/main" id="{D3EA5190-FA3E-3F9B-A42D-C53B986658B3}"/>
              </a:ext>
            </a:extLst>
          </p:cNvPr>
          <p:cNvGrpSpPr/>
          <p:nvPr/>
        </p:nvGrpSpPr>
        <p:grpSpPr>
          <a:xfrm>
            <a:off x="320721" y="4067450"/>
            <a:ext cx="1771605" cy="216000"/>
            <a:chOff x="320721" y="4517211"/>
            <a:chExt cx="1771605" cy="216000"/>
          </a:xfrm>
        </p:grpSpPr>
        <p:sp>
          <p:nvSpPr>
            <p:cNvPr id="167" name="Rectangle: Rounded Corners 6">
              <a:extLst>
                <a:ext uri="{FF2B5EF4-FFF2-40B4-BE49-F238E27FC236}">
                  <a16:creationId xmlns:a16="http://schemas.microsoft.com/office/drawing/2014/main" id="{9AE51BBC-47B6-E9FF-F7EE-1A6407A366EA}"/>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78D4"/>
                  </a:solidFill>
                  <a:effectLst/>
                  <a:uLnTx/>
                  <a:uFillTx/>
                  <a:latin typeface="Segoe UI Semibold"/>
                  <a:ea typeface="+mn-ea"/>
                  <a:cs typeface="Segoe UI Semibold"/>
                </a:rPr>
                <a:t>Revenue per store</a:t>
              </a:r>
            </a:p>
          </p:txBody>
        </p:sp>
        <p:pic>
          <p:nvPicPr>
            <p:cNvPr id="168" name="Graphic 167">
              <a:extLst>
                <a:ext uri="{FF2B5EF4-FFF2-40B4-BE49-F238E27FC236}">
                  <a16:creationId xmlns:a16="http://schemas.microsoft.com/office/drawing/2014/main" id="{2CDC00A3-76C1-CC95-2797-95C59BD965B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7507" y="4552645"/>
              <a:ext cx="144000" cy="141732"/>
            </a:xfrm>
            <a:prstGeom prst="rect">
              <a:avLst/>
            </a:prstGeom>
          </p:spPr>
        </p:pic>
      </p:grpSp>
      <p:sp>
        <p:nvSpPr>
          <p:cNvPr id="170" name="TextBox 169">
            <a:extLst>
              <a:ext uri="{FF2B5EF4-FFF2-40B4-BE49-F238E27FC236}">
                <a16:creationId xmlns:a16="http://schemas.microsoft.com/office/drawing/2014/main" id="{9B3A0369-7FBA-F341-8B66-4AB686C5308C}"/>
              </a:ext>
              <a:ext uri="{C183D7F6-B498-43B3-948B-1728B52AA6E4}">
                <adec:decorative xmlns:adec="http://schemas.microsoft.com/office/drawing/2017/decorative" val="0"/>
              </a:ext>
            </a:extLst>
          </p:cNvPr>
          <p:cNvSpPr txBox="1">
            <a:spLocks/>
          </p:cNvSpPr>
          <p:nvPr/>
        </p:nvSpPr>
        <p:spPr>
          <a:xfrm>
            <a:off x="6446959" y="2286932"/>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71" name="Picture 50">
            <a:hlinkClick r:id="rId7"/>
            <a:extLst>
              <a:ext uri="{FF2B5EF4-FFF2-40B4-BE49-F238E27FC236}">
                <a16:creationId xmlns:a16="http://schemas.microsoft.com/office/drawing/2014/main" id="{B729B1D9-B6E5-A6E2-8D75-377D9C0A4BD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67425" y="2242688"/>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192" name="TextBox 191">
            <a:extLst>
              <a:ext uri="{FF2B5EF4-FFF2-40B4-BE49-F238E27FC236}">
                <a16:creationId xmlns:a16="http://schemas.microsoft.com/office/drawing/2014/main" id="{92721188-915D-5B24-A1B8-A0E47C6F1051}"/>
              </a:ext>
              <a:ext uri="{C183D7F6-B498-43B3-948B-1728B52AA6E4}">
                <adec:decorative xmlns:adec="http://schemas.microsoft.com/office/drawing/2017/decorative" val="0"/>
              </a:ext>
            </a:extLst>
          </p:cNvPr>
          <p:cNvSpPr txBox="1">
            <a:spLocks/>
          </p:cNvSpPr>
          <p:nvPr/>
        </p:nvSpPr>
        <p:spPr>
          <a:xfrm>
            <a:off x="3562472" y="2286932"/>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93" name="Picture 50">
            <a:hlinkClick r:id="rId7"/>
            <a:extLst>
              <a:ext uri="{FF2B5EF4-FFF2-40B4-BE49-F238E27FC236}">
                <a16:creationId xmlns:a16="http://schemas.microsoft.com/office/drawing/2014/main" id="{B0F7941C-22B2-0696-396A-A459FC30A7D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82938" y="2242688"/>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195" name="TextBox 194">
            <a:extLst>
              <a:ext uri="{FF2B5EF4-FFF2-40B4-BE49-F238E27FC236}">
                <a16:creationId xmlns:a16="http://schemas.microsoft.com/office/drawing/2014/main" id="{DF610737-78B5-0147-6EA8-7CE73D5591F9}"/>
              </a:ext>
              <a:ext uri="{C183D7F6-B498-43B3-948B-1728B52AA6E4}">
                <adec:decorative xmlns:adec="http://schemas.microsoft.com/office/drawing/2017/decorative" val="0"/>
              </a:ext>
            </a:extLst>
          </p:cNvPr>
          <p:cNvSpPr txBox="1">
            <a:spLocks/>
          </p:cNvSpPr>
          <p:nvPr/>
        </p:nvSpPr>
        <p:spPr>
          <a:xfrm>
            <a:off x="3562472" y="4842528"/>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96" name="Picture 50">
            <a:hlinkClick r:id="rId7"/>
            <a:extLst>
              <a:ext uri="{FF2B5EF4-FFF2-40B4-BE49-F238E27FC236}">
                <a16:creationId xmlns:a16="http://schemas.microsoft.com/office/drawing/2014/main" id="{DE5FB0D9-505C-4AED-C215-57D09A07E65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82938" y="4798285"/>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198" name="TextBox 197">
            <a:extLst>
              <a:ext uri="{FF2B5EF4-FFF2-40B4-BE49-F238E27FC236}">
                <a16:creationId xmlns:a16="http://schemas.microsoft.com/office/drawing/2014/main" id="{31796288-5213-A1EE-1CC3-A0097625E93A}"/>
              </a:ext>
              <a:ext uri="{C183D7F6-B498-43B3-948B-1728B52AA6E4}">
                <adec:decorative xmlns:adec="http://schemas.microsoft.com/office/drawing/2017/decorative" val="0"/>
              </a:ext>
            </a:extLst>
          </p:cNvPr>
          <p:cNvSpPr txBox="1">
            <a:spLocks/>
          </p:cNvSpPr>
          <p:nvPr/>
        </p:nvSpPr>
        <p:spPr>
          <a:xfrm>
            <a:off x="9329859" y="2286932"/>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200" name="Picture 50">
            <a:hlinkClick r:id="rId7"/>
            <a:extLst>
              <a:ext uri="{FF2B5EF4-FFF2-40B4-BE49-F238E27FC236}">
                <a16:creationId xmlns:a16="http://schemas.microsoft.com/office/drawing/2014/main" id="{27B206C2-554F-CED5-3635-CB6F597D826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50325" y="2242688"/>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202" name="TextBox 201">
            <a:extLst>
              <a:ext uri="{FF2B5EF4-FFF2-40B4-BE49-F238E27FC236}">
                <a16:creationId xmlns:a16="http://schemas.microsoft.com/office/drawing/2014/main" id="{BD657D45-8641-4BCE-C6CB-BBADB57AEC8C}"/>
              </a:ext>
              <a:ext uri="{C183D7F6-B498-43B3-948B-1728B52AA6E4}">
                <adec:decorative xmlns:adec="http://schemas.microsoft.com/office/drawing/2017/decorative" val="0"/>
              </a:ext>
            </a:extLst>
          </p:cNvPr>
          <p:cNvSpPr txBox="1">
            <a:spLocks/>
          </p:cNvSpPr>
          <p:nvPr/>
        </p:nvSpPr>
        <p:spPr>
          <a:xfrm>
            <a:off x="6446959" y="4842528"/>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203" name="Picture 50">
            <a:hlinkClick r:id="rId7"/>
            <a:extLst>
              <a:ext uri="{FF2B5EF4-FFF2-40B4-BE49-F238E27FC236}">
                <a16:creationId xmlns:a16="http://schemas.microsoft.com/office/drawing/2014/main" id="{9BE9E0C8-421E-04EA-D39D-9AD26626B91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67425" y="4798285"/>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205" name="TextBox 204">
            <a:extLst>
              <a:ext uri="{FF2B5EF4-FFF2-40B4-BE49-F238E27FC236}">
                <a16:creationId xmlns:a16="http://schemas.microsoft.com/office/drawing/2014/main" id="{AC417B1C-D28F-6238-07A1-C5F051F17CC3}"/>
              </a:ext>
              <a:ext uri="{C183D7F6-B498-43B3-948B-1728B52AA6E4}">
                <adec:decorative xmlns:adec="http://schemas.microsoft.com/office/drawing/2017/decorative" val="0"/>
              </a:ext>
            </a:extLst>
          </p:cNvPr>
          <p:cNvSpPr txBox="1">
            <a:spLocks/>
          </p:cNvSpPr>
          <p:nvPr/>
        </p:nvSpPr>
        <p:spPr>
          <a:xfrm>
            <a:off x="9329859" y="4842528"/>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206" name="Picture 50">
            <a:hlinkClick r:id="rId7"/>
            <a:extLst>
              <a:ext uri="{FF2B5EF4-FFF2-40B4-BE49-F238E27FC236}">
                <a16:creationId xmlns:a16="http://schemas.microsoft.com/office/drawing/2014/main" id="{584EAAA6-74C2-BD17-04DB-E1CFD9BA85D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50325" y="4798285"/>
            <a:ext cx="242374" cy="242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658513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4A0092-68A2-DE21-573F-9CA448E94B6C}"/>
            </a:ext>
          </a:extLst>
        </p:cNvPr>
        <p:cNvGrpSpPr/>
        <p:nvPr/>
      </p:nvGrpSpPr>
      <p:grpSpPr>
        <a:xfrm>
          <a:off x="0" y="0"/>
          <a:ext cx="0" cy="0"/>
          <a:chOff x="0" y="0"/>
          <a:chExt cx="0" cy="0"/>
        </a:xfrm>
      </p:grpSpPr>
      <p:grpSp>
        <p:nvGrpSpPr>
          <p:cNvPr id="93" name="Group 92">
            <a:extLst>
              <a:ext uri="{FF2B5EF4-FFF2-40B4-BE49-F238E27FC236}">
                <a16:creationId xmlns:a16="http://schemas.microsoft.com/office/drawing/2014/main" id="{9BDDDC70-7CAB-1634-BCBF-E19E74BEBABA}"/>
              </a:ext>
            </a:extLst>
          </p:cNvPr>
          <p:cNvGrpSpPr/>
          <p:nvPr/>
        </p:nvGrpSpPr>
        <p:grpSpPr>
          <a:xfrm>
            <a:off x="320719" y="5020658"/>
            <a:ext cx="1771605" cy="216000"/>
            <a:chOff x="320719" y="4224856"/>
            <a:chExt cx="1771605" cy="219456"/>
          </a:xfrm>
        </p:grpSpPr>
        <p:sp>
          <p:nvSpPr>
            <p:cNvPr id="110" name="Rectangle: Rounded Corners 6">
              <a:extLst>
                <a:ext uri="{FF2B5EF4-FFF2-40B4-BE49-F238E27FC236}">
                  <a16:creationId xmlns:a16="http://schemas.microsoft.com/office/drawing/2014/main" id="{BB07C376-BD25-ACF3-0D97-FAD1B26EE7B6}"/>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11" name="Graphic 110">
              <a:extLst>
                <a:ext uri="{FF2B5EF4-FFF2-40B4-BE49-F238E27FC236}">
                  <a16:creationId xmlns:a16="http://schemas.microsoft.com/office/drawing/2014/main" id="{BEB78F32-4082-44D8-609D-EF9E84FFDF4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7506" y="4260849"/>
              <a:ext cx="144000" cy="144000"/>
            </a:xfrm>
            <a:prstGeom prst="rect">
              <a:avLst/>
            </a:prstGeom>
          </p:spPr>
        </p:pic>
      </p:grpSp>
      <p:grpSp>
        <p:nvGrpSpPr>
          <p:cNvPr id="94" name="Group 93">
            <a:extLst>
              <a:ext uri="{FF2B5EF4-FFF2-40B4-BE49-F238E27FC236}">
                <a16:creationId xmlns:a16="http://schemas.microsoft.com/office/drawing/2014/main" id="{6319D6E6-B46D-77C4-B07D-771262BEB955}"/>
              </a:ext>
            </a:extLst>
          </p:cNvPr>
          <p:cNvGrpSpPr/>
          <p:nvPr/>
        </p:nvGrpSpPr>
        <p:grpSpPr>
          <a:xfrm>
            <a:off x="320721" y="5309272"/>
            <a:ext cx="1771605" cy="216000"/>
            <a:chOff x="320721" y="4517211"/>
            <a:chExt cx="1771605" cy="216000"/>
          </a:xfrm>
        </p:grpSpPr>
        <p:sp>
          <p:nvSpPr>
            <p:cNvPr id="98" name="Rectangle: Rounded Corners 6">
              <a:extLst>
                <a:ext uri="{FF2B5EF4-FFF2-40B4-BE49-F238E27FC236}">
                  <a16:creationId xmlns:a16="http://schemas.microsoft.com/office/drawing/2014/main" id="{D3196608-E511-986D-3E3D-05BBB9826E68}"/>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Increase revenue</a:t>
              </a:r>
            </a:p>
          </p:txBody>
        </p:sp>
        <p:pic>
          <p:nvPicPr>
            <p:cNvPr id="109" name="Graphic 108">
              <a:extLst>
                <a:ext uri="{FF2B5EF4-FFF2-40B4-BE49-F238E27FC236}">
                  <a16:creationId xmlns:a16="http://schemas.microsoft.com/office/drawing/2014/main" id="{B1DF2369-FDE4-9566-4A9D-E42E6F10DED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7507" y="4552645"/>
              <a:ext cx="144000" cy="141732"/>
            </a:xfrm>
            <a:prstGeom prst="rect">
              <a:avLst/>
            </a:prstGeom>
          </p:spPr>
        </p:pic>
      </p:grpSp>
      <p:sp>
        <p:nvSpPr>
          <p:cNvPr id="91" name="Text Placeholder 90">
            <a:extLst>
              <a:ext uri="{FF2B5EF4-FFF2-40B4-BE49-F238E27FC236}">
                <a16:creationId xmlns:a16="http://schemas.microsoft.com/office/drawing/2014/main" id="{43B1ED3F-40D4-5750-C649-424030D40670}"/>
              </a:ext>
            </a:extLst>
          </p:cNvPr>
          <p:cNvSpPr>
            <a:spLocks noGrp="1"/>
          </p:cNvSpPr>
          <p:nvPr>
            <p:ph type="body" sz="quarter" idx="42"/>
          </p:nvPr>
        </p:nvSpPr>
        <p:spPr>
          <a:xfrm>
            <a:off x="311388" y="1026303"/>
            <a:ext cx="2431246" cy="1131079"/>
          </a:xfrm>
        </p:spPr>
        <p:txBody>
          <a:bodyPr/>
          <a:lstStyle/>
          <a:p>
            <a:r>
              <a:rPr lang="en-US" noProof="0" dirty="0"/>
              <a:t>Use AI to analyze store operational data to determine store performance and then identity and share best practices from top performing locations.</a:t>
            </a:r>
          </a:p>
          <a:p>
            <a:endParaRPr lang="en-US" dirty="0"/>
          </a:p>
          <a:p>
            <a:r>
              <a:rPr lang="en-US" sz="1050" noProof="0" dirty="0">
                <a:latin typeface="+mj-lt"/>
              </a:rPr>
              <a:t>Customer reference: </a:t>
            </a:r>
            <a:r>
              <a:rPr lang="en-US" sz="1050" noProof="0" dirty="0">
                <a:hlinkClick r:id="rId5"/>
              </a:rPr>
              <a:t>PepsiCo  produces store-level actionable insights</a:t>
            </a:r>
            <a:endParaRPr lang="en-US" sz="1050" noProof="0" dirty="0"/>
          </a:p>
          <a:p>
            <a:endParaRPr lang="en-US" noProof="0" dirty="0"/>
          </a:p>
        </p:txBody>
      </p:sp>
      <p:sp>
        <p:nvSpPr>
          <p:cNvPr id="48" name="Text Placeholder 47">
            <a:extLst>
              <a:ext uri="{FF2B5EF4-FFF2-40B4-BE49-F238E27FC236}">
                <a16:creationId xmlns:a16="http://schemas.microsoft.com/office/drawing/2014/main" id="{BAEB3985-9B9F-8032-A654-4895CD273F4B}"/>
              </a:ext>
            </a:extLst>
          </p:cNvPr>
          <p:cNvSpPr>
            <a:spLocks noGrp="1"/>
          </p:cNvSpPr>
          <p:nvPr>
            <p:ph type="body" sz="quarter" idx="43"/>
          </p:nvPr>
        </p:nvSpPr>
        <p:spPr>
          <a:xfrm>
            <a:off x="10430351" y="521099"/>
            <a:ext cx="1456966" cy="175614"/>
          </a:xfrm>
        </p:spPr>
        <p:txBody>
          <a:bodyPr/>
          <a:lstStyle/>
          <a:p>
            <a:r>
              <a:rPr lang="en-US" noProof="0"/>
              <a:t>Extend</a:t>
            </a:r>
          </a:p>
        </p:txBody>
      </p:sp>
      <p:sp>
        <p:nvSpPr>
          <p:cNvPr id="49" name="Text Placeholder 48">
            <a:extLst>
              <a:ext uri="{FF2B5EF4-FFF2-40B4-BE49-F238E27FC236}">
                <a16:creationId xmlns:a16="http://schemas.microsoft.com/office/drawing/2014/main" id="{AEBFA71F-8EFD-C2D1-DC43-FB644AF7F94F}"/>
              </a:ext>
            </a:extLst>
          </p:cNvPr>
          <p:cNvSpPr>
            <a:spLocks noGrp="1"/>
          </p:cNvSpPr>
          <p:nvPr>
            <p:ph type="body" sz="quarter" idx="44"/>
          </p:nvPr>
        </p:nvSpPr>
        <p:spPr>
          <a:xfrm>
            <a:off x="7149557" y="521100"/>
            <a:ext cx="2969488" cy="169277"/>
          </a:xfrm>
        </p:spPr>
        <p:txBody>
          <a:bodyPr/>
          <a:lstStyle/>
          <a:p>
            <a:r>
              <a:rPr lang="en-US" noProof="0" dirty="0"/>
              <a:t>Microsoft 365 Copilot Chat and Copilot Studio</a:t>
            </a:r>
          </a:p>
        </p:txBody>
      </p:sp>
      <p:sp>
        <p:nvSpPr>
          <p:cNvPr id="23" name="Text Placeholder 22">
            <a:extLst>
              <a:ext uri="{FF2B5EF4-FFF2-40B4-BE49-F238E27FC236}">
                <a16:creationId xmlns:a16="http://schemas.microsoft.com/office/drawing/2014/main" id="{58538784-0077-27F0-BA9F-CA2FA0BC2624}"/>
              </a:ext>
            </a:extLst>
          </p:cNvPr>
          <p:cNvSpPr>
            <a:spLocks noGrp="1"/>
          </p:cNvSpPr>
          <p:nvPr>
            <p:ph type="body" sz="quarter" idx="46"/>
          </p:nvPr>
        </p:nvSpPr>
        <p:spPr>
          <a:xfrm>
            <a:off x="3182889" y="2725494"/>
            <a:ext cx="2572262" cy="712876"/>
          </a:xfrm>
        </p:spPr>
        <p:txBody>
          <a:bodyPr/>
          <a:lstStyle/>
          <a:p>
            <a:r>
              <a:rPr lang="en-US"/>
              <a:t>Benefit: </a:t>
            </a:r>
            <a:r>
              <a:rPr lang="en-US">
                <a:latin typeface="+mj-lt"/>
              </a:rPr>
              <a:t>Quickly catch up</a:t>
            </a:r>
            <a:r>
              <a:rPr lang="en-US"/>
              <a:t> on store performance and status and identify stores falling below targets.</a:t>
            </a:r>
          </a:p>
        </p:txBody>
      </p:sp>
      <p:sp>
        <p:nvSpPr>
          <p:cNvPr id="52" name="Text Placeholder 51">
            <a:extLst>
              <a:ext uri="{FF2B5EF4-FFF2-40B4-BE49-F238E27FC236}">
                <a16:creationId xmlns:a16="http://schemas.microsoft.com/office/drawing/2014/main" id="{7B3A8FF7-2939-08B3-D678-AE1BA7B40C4B}"/>
              </a:ext>
            </a:extLst>
          </p:cNvPr>
          <p:cNvSpPr>
            <a:spLocks noGrp="1"/>
          </p:cNvSpPr>
          <p:nvPr>
            <p:ph type="body" sz="quarter" idx="47"/>
          </p:nvPr>
        </p:nvSpPr>
        <p:spPr>
          <a:xfrm>
            <a:off x="3182890" y="1112478"/>
            <a:ext cx="2572262" cy="153888"/>
          </a:xfrm>
        </p:spPr>
        <p:txBody>
          <a:bodyPr/>
          <a:lstStyle/>
          <a:p>
            <a:r>
              <a:rPr lang="en-US" noProof="0"/>
              <a:t>View store performance data</a:t>
            </a:r>
          </a:p>
        </p:txBody>
      </p:sp>
      <p:sp>
        <p:nvSpPr>
          <p:cNvPr id="53" name="Text Placeholder 52">
            <a:extLst>
              <a:ext uri="{FF2B5EF4-FFF2-40B4-BE49-F238E27FC236}">
                <a16:creationId xmlns:a16="http://schemas.microsoft.com/office/drawing/2014/main" id="{0F4FCD47-BE98-0449-73A2-135B21C5BCC7}"/>
              </a:ext>
            </a:extLst>
          </p:cNvPr>
          <p:cNvSpPr>
            <a:spLocks noGrp="1"/>
          </p:cNvSpPr>
          <p:nvPr>
            <p:ph type="body" sz="quarter" idx="48"/>
          </p:nvPr>
        </p:nvSpPr>
        <p:spPr>
          <a:xfrm>
            <a:off x="3182890" y="1438715"/>
            <a:ext cx="2572262" cy="626701"/>
          </a:xfrm>
        </p:spPr>
        <p:txBody>
          <a:bodyPr/>
          <a:lstStyle/>
          <a:p>
            <a:r>
              <a:rPr lang="en-US"/>
              <a:t>Prompt Copilot for an up-to-date analysis of performance for stores in your portfolio. Copilot pulls data directly from your store operations tool.</a:t>
            </a:r>
          </a:p>
        </p:txBody>
      </p:sp>
      <p:sp>
        <p:nvSpPr>
          <p:cNvPr id="54" name="Text Placeholder 53">
            <a:extLst>
              <a:ext uri="{FF2B5EF4-FFF2-40B4-BE49-F238E27FC236}">
                <a16:creationId xmlns:a16="http://schemas.microsoft.com/office/drawing/2014/main" id="{D9746516-A663-2632-CD7C-204DEA6BDE9F}"/>
              </a:ext>
            </a:extLst>
          </p:cNvPr>
          <p:cNvSpPr>
            <a:spLocks noGrp="1"/>
          </p:cNvSpPr>
          <p:nvPr>
            <p:ph type="body" sz="quarter" idx="49"/>
          </p:nvPr>
        </p:nvSpPr>
        <p:spPr>
          <a:xfrm>
            <a:off x="6066682" y="1112478"/>
            <a:ext cx="2572262" cy="153888"/>
          </a:xfrm>
        </p:spPr>
        <p:txBody>
          <a:bodyPr/>
          <a:lstStyle/>
          <a:p>
            <a:r>
              <a:rPr lang="en-US" noProof="0"/>
              <a:t>Assess low performing stores</a:t>
            </a:r>
          </a:p>
        </p:txBody>
      </p:sp>
      <p:sp>
        <p:nvSpPr>
          <p:cNvPr id="55" name="Text Placeholder 54">
            <a:extLst>
              <a:ext uri="{FF2B5EF4-FFF2-40B4-BE49-F238E27FC236}">
                <a16:creationId xmlns:a16="http://schemas.microsoft.com/office/drawing/2014/main" id="{23B7D480-D8AA-6105-9310-6E423FA19314}"/>
              </a:ext>
            </a:extLst>
          </p:cNvPr>
          <p:cNvSpPr>
            <a:spLocks noGrp="1"/>
          </p:cNvSpPr>
          <p:nvPr>
            <p:ph type="body" sz="quarter" idx="50"/>
          </p:nvPr>
        </p:nvSpPr>
        <p:spPr>
          <a:xfrm>
            <a:off x="6066682" y="1438715"/>
            <a:ext cx="2572262" cy="626701"/>
          </a:xfrm>
        </p:spPr>
        <p:txBody>
          <a:bodyPr/>
          <a:lstStyle/>
          <a:p>
            <a:r>
              <a:rPr lang="en-US" noProof="0"/>
              <a:t>Looking deeper into the metrics of stores falling below daily targets, prompt Copilot to compare their performance to baseline and higher performing stores. </a:t>
            </a:r>
          </a:p>
          <a:p>
            <a:endParaRPr lang="en-US" noProof="0"/>
          </a:p>
        </p:txBody>
      </p:sp>
      <p:sp>
        <p:nvSpPr>
          <p:cNvPr id="59" name="Text Placeholder 58">
            <a:extLst>
              <a:ext uri="{FF2B5EF4-FFF2-40B4-BE49-F238E27FC236}">
                <a16:creationId xmlns:a16="http://schemas.microsoft.com/office/drawing/2014/main" id="{CEBF8002-1F5E-7C89-10A1-EF74D2CC287D}"/>
              </a:ext>
            </a:extLst>
          </p:cNvPr>
          <p:cNvSpPr>
            <a:spLocks noGrp="1"/>
          </p:cNvSpPr>
          <p:nvPr>
            <p:ph type="body" sz="quarter" idx="67"/>
          </p:nvPr>
        </p:nvSpPr>
        <p:spPr>
          <a:xfrm>
            <a:off x="8950475" y="2725494"/>
            <a:ext cx="2572262" cy="712876"/>
          </a:xfrm>
        </p:spPr>
        <p:txBody>
          <a:bodyPr/>
          <a:lstStyle/>
          <a:p>
            <a:r>
              <a:rPr lang="en-US"/>
              <a:t>Benefit: </a:t>
            </a:r>
            <a:r>
              <a:rPr lang="en-US">
                <a:latin typeface="+mj-lt"/>
              </a:rPr>
              <a:t>Understand how products are selling </a:t>
            </a:r>
            <a:r>
              <a:rPr lang="en-US"/>
              <a:t>in underperforming stores versus top stores by analyzing KPIs like sell-through rates. </a:t>
            </a:r>
          </a:p>
        </p:txBody>
      </p:sp>
      <p:sp>
        <p:nvSpPr>
          <p:cNvPr id="57" name="Text Placeholder 56">
            <a:extLst>
              <a:ext uri="{FF2B5EF4-FFF2-40B4-BE49-F238E27FC236}">
                <a16:creationId xmlns:a16="http://schemas.microsoft.com/office/drawing/2014/main" id="{F1D18BF2-5B79-1736-E39F-00249CEA842A}"/>
              </a:ext>
            </a:extLst>
          </p:cNvPr>
          <p:cNvSpPr>
            <a:spLocks noGrp="1"/>
          </p:cNvSpPr>
          <p:nvPr>
            <p:ph type="body" sz="quarter" idx="52"/>
          </p:nvPr>
        </p:nvSpPr>
        <p:spPr>
          <a:xfrm>
            <a:off x="8950475" y="1112478"/>
            <a:ext cx="2572262" cy="153888"/>
          </a:xfrm>
        </p:spPr>
        <p:txBody>
          <a:bodyPr/>
          <a:lstStyle/>
          <a:p>
            <a:r>
              <a:rPr lang="en-US" noProof="0"/>
              <a:t>Analyze sell-through rates</a:t>
            </a:r>
          </a:p>
        </p:txBody>
      </p:sp>
      <p:sp>
        <p:nvSpPr>
          <p:cNvPr id="58" name="Text Placeholder 57">
            <a:extLst>
              <a:ext uri="{FF2B5EF4-FFF2-40B4-BE49-F238E27FC236}">
                <a16:creationId xmlns:a16="http://schemas.microsoft.com/office/drawing/2014/main" id="{A20A62F4-7926-3BAA-637B-53180B759D88}"/>
              </a:ext>
            </a:extLst>
          </p:cNvPr>
          <p:cNvSpPr>
            <a:spLocks noGrp="1"/>
          </p:cNvSpPr>
          <p:nvPr>
            <p:ph type="body" sz="quarter" idx="53"/>
          </p:nvPr>
        </p:nvSpPr>
        <p:spPr>
          <a:xfrm>
            <a:off x="8950475" y="1438715"/>
            <a:ext cx="2572262" cy="626701"/>
          </a:xfrm>
        </p:spPr>
        <p:txBody>
          <a:bodyPr/>
          <a:lstStyle/>
          <a:p>
            <a:r>
              <a:rPr lang="en-US" noProof="0"/>
              <a:t>Once potential departments or product lines are identified as underperforming, prompt Copilot for the sell through rate for the lowest performing stores. </a:t>
            </a:r>
          </a:p>
          <a:p>
            <a:endParaRPr lang="en-US" noProof="0"/>
          </a:p>
        </p:txBody>
      </p:sp>
      <p:sp>
        <p:nvSpPr>
          <p:cNvPr id="56" name="Text Placeholder 55">
            <a:extLst>
              <a:ext uri="{FF2B5EF4-FFF2-40B4-BE49-F238E27FC236}">
                <a16:creationId xmlns:a16="http://schemas.microsoft.com/office/drawing/2014/main" id="{E973ABD1-84E0-EE01-D4AB-CC821CFCC3D2}"/>
              </a:ext>
            </a:extLst>
          </p:cNvPr>
          <p:cNvSpPr>
            <a:spLocks noGrp="1"/>
          </p:cNvSpPr>
          <p:nvPr>
            <p:ph type="body" sz="quarter" idx="66"/>
          </p:nvPr>
        </p:nvSpPr>
        <p:spPr>
          <a:xfrm>
            <a:off x="6066682" y="2725494"/>
            <a:ext cx="2572262" cy="712876"/>
          </a:xfrm>
        </p:spPr>
        <p:txBody>
          <a:bodyPr/>
          <a:lstStyle/>
          <a:p>
            <a:r>
              <a:rPr lang="en-US"/>
              <a:t>Benefit: </a:t>
            </a:r>
            <a:r>
              <a:rPr lang="en-US">
                <a:latin typeface="+mj-lt"/>
              </a:rPr>
              <a:t>Compare performance of different stores and identify possible trends </a:t>
            </a:r>
            <a:r>
              <a:rPr lang="en-US"/>
              <a:t>impacting performance within certain areas or departments. </a:t>
            </a:r>
          </a:p>
        </p:txBody>
      </p:sp>
      <p:sp>
        <p:nvSpPr>
          <p:cNvPr id="60" name="Text Placeholder 59">
            <a:extLst>
              <a:ext uri="{FF2B5EF4-FFF2-40B4-BE49-F238E27FC236}">
                <a16:creationId xmlns:a16="http://schemas.microsoft.com/office/drawing/2014/main" id="{AAB50012-4207-DD7A-C3E6-D470DF926C8B}"/>
              </a:ext>
            </a:extLst>
          </p:cNvPr>
          <p:cNvSpPr>
            <a:spLocks noGrp="1"/>
          </p:cNvSpPr>
          <p:nvPr>
            <p:ph type="body" sz="quarter" idx="58"/>
          </p:nvPr>
        </p:nvSpPr>
        <p:spPr>
          <a:xfrm>
            <a:off x="4036409" y="3725103"/>
            <a:ext cx="3161734" cy="153888"/>
          </a:xfrm>
        </p:spPr>
        <p:txBody>
          <a:bodyPr/>
          <a:lstStyle/>
          <a:p>
            <a:r>
              <a:rPr lang="en-US" noProof="0"/>
              <a:t>Communicate corrective actions</a:t>
            </a:r>
          </a:p>
        </p:txBody>
      </p:sp>
      <p:sp>
        <p:nvSpPr>
          <p:cNvPr id="61" name="Text Placeholder 60">
            <a:extLst>
              <a:ext uri="{FF2B5EF4-FFF2-40B4-BE49-F238E27FC236}">
                <a16:creationId xmlns:a16="http://schemas.microsoft.com/office/drawing/2014/main" id="{7574A616-0557-292B-E301-20165510C332}"/>
              </a:ext>
            </a:extLst>
          </p:cNvPr>
          <p:cNvSpPr>
            <a:spLocks noGrp="1"/>
          </p:cNvSpPr>
          <p:nvPr>
            <p:ph type="body" sz="quarter" idx="59"/>
          </p:nvPr>
        </p:nvSpPr>
        <p:spPr>
          <a:xfrm>
            <a:off x="4036409" y="4050957"/>
            <a:ext cx="3161734" cy="626701"/>
          </a:xfrm>
        </p:spPr>
        <p:txBody>
          <a:bodyPr/>
          <a:lstStyle/>
          <a:p>
            <a:r>
              <a:rPr lang="en-US" noProof="0" dirty="0"/>
              <a:t>Once all the data has been collected, use Copilot to draft an email to store managers of the underperforming stores, including the best practices.</a:t>
            </a:r>
          </a:p>
          <a:p>
            <a:endParaRPr lang="en-US" noProof="0" dirty="0"/>
          </a:p>
        </p:txBody>
      </p:sp>
      <p:sp>
        <p:nvSpPr>
          <p:cNvPr id="65" name="Text Placeholder 64">
            <a:extLst>
              <a:ext uri="{FF2B5EF4-FFF2-40B4-BE49-F238E27FC236}">
                <a16:creationId xmlns:a16="http://schemas.microsoft.com/office/drawing/2014/main" id="{7E370A40-E089-1B44-12E8-6D39571A1EFD}"/>
              </a:ext>
            </a:extLst>
          </p:cNvPr>
          <p:cNvSpPr>
            <a:spLocks noGrp="1"/>
          </p:cNvSpPr>
          <p:nvPr>
            <p:ph type="body" sz="quarter" idx="69"/>
          </p:nvPr>
        </p:nvSpPr>
        <p:spPr>
          <a:xfrm>
            <a:off x="7507483" y="5338502"/>
            <a:ext cx="3161734" cy="712876"/>
          </a:xfrm>
        </p:spPr>
        <p:txBody>
          <a:bodyPr/>
          <a:lstStyle/>
          <a:p>
            <a:r>
              <a:rPr lang="en-US"/>
              <a:t>Benefit: </a:t>
            </a:r>
            <a:r>
              <a:rPr lang="en-US">
                <a:latin typeface="+mj-lt"/>
              </a:rPr>
              <a:t>Review insights from top performing stores </a:t>
            </a:r>
            <a:r>
              <a:rPr lang="en-US"/>
              <a:t>and scale best practices across stores.</a:t>
            </a:r>
          </a:p>
        </p:txBody>
      </p:sp>
      <p:sp>
        <p:nvSpPr>
          <p:cNvPr id="63" name="Text Placeholder 62">
            <a:extLst>
              <a:ext uri="{FF2B5EF4-FFF2-40B4-BE49-F238E27FC236}">
                <a16:creationId xmlns:a16="http://schemas.microsoft.com/office/drawing/2014/main" id="{5789BC06-7D8F-05F6-110C-3F57741B0760}"/>
              </a:ext>
            </a:extLst>
          </p:cNvPr>
          <p:cNvSpPr>
            <a:spLocks noGrp="1"/>
          </p:cNvSpPr>
          <p:nvPr>
            <p:ph type="body" sz="quarter" idx="61"/>
          </p:nvPr>
        </p:nvSpPr>
        <p:spPr>
          <a:xfrm>
            <a:off x="7507483" y="3725103"/>
            <a:ext cx="3161734" cy="153888"/>
          </a:xfrm>
        </p:spPr>
        <p:txBody>
          <a:bodyPr/>
          <a:lstStyle/>
          <a:p>
            <a:r>
              <a:rPr lang="en-US" noProof="0"/>
              <a:t>Review insights from top stores</a:t>
            </a:r>
          </a:p>
        </p:txBody>
      </p:sp>
      <p:sp>
        <p:nvSpPr>
          <p:cNvPr id="64" name="Text Placeholder 63">
            <a:extLst>
              <a:ext uri="{FF2B5EF4-FFF2-40B4-BE49-F238E27FC236}">
                <a16:creationId xmlns:a16="http://schemas.microsoft.com/office/drawing/2014/main" id="{93C917D3-DCFA-922D-5804-B03447962D3E}"/>
              </a:ext>
            </a:extLst>
          </p:cNvPr>
          <p:cNvSpPr>
            <a:spLocks noGrp="1"/>
          </p:cNvSpPr>
          <p:nvPr>
            <p:ph type="body" sz="quarter" idx="62"/>
          </p:nvPr>
        </p:nvSpPr>
        <p:spPr>
          <a:xfrm>
            <a:off x="7507483" y="4050957"/>
            <a:ext cx="3161734" cy="626701"/>
          </a:xfrm>
        </p:spPr>
        <p:txBody>
          <a:bodyPr/>
          <a:lstStyle/>
          <a:p>
            <a:r>
              <a:rPr lang="en-US" noProof="0"/>
              <a:t>Ask Copilot to summarize anecdotal feedback collected </a:t>
            </a:r>
            <a:br>
              <a:rPr lang="en-US" noProof="0"/>
            </a:br>
            <a:r>
              <a:rPr lang="en-US" noProof="0"/>
              <a:t>from top performing store managers, captured in internal documents and files.</a:t>
            </a:r>
          </a:p>
          <a:p>
            <a:endParaRPr lang="en-US" noProof="0"/>
          </a:p>
        </p:txBody>
      </p:sp>
      <p:sp>
        <p:nvSpPr>
          <p:cNvPr id="62" name="Text Placeholder 61">
            <a:extLst>
              <a:ext uri="{FF2B5EF4-FFF2-40B4-BE49-F238E27FC236}">
                <a16:creationId xmlns:a16="http://schemas.microsoft.com/office/drawing/2014/main" id="{D191F195-E89D-76C1-110E-167DCFE3ABBC}"/>
              </a:ext>
            </a:extLst>
          </p:cNvPr>
          <p:cNvSpPr>
            <a:spLocks noGrp="1"/>
          </p:cNvSpPr>
          <p:nvPr>
            <p:ph type="body" sz="quarter" idx="68"/>
          </p:nvPr>
        </p:nvSpPr>
        <p:spPr>
          <a:xfrm>
            <a:off x="4036409" y="5338502"/>
            <a:ext cx="3161734" cy="712876"/>
          </a:xfrm>
        </p:spPr>
        <p:txBody>
          <a:bodyPr/>
          <a:lstStyle/>
          <a:p>
            <a:r>
              <a:rPr lang="en-US"/>
              <a:t>Benefit: </a:t>
            </a:r>
            <a:r>
              <a:rPr lang="en-US">
                <a:latin typeface="+mj-lt"/>
              </a:rPr>
              <a:t>Communicate efficiently </a:t>
            </a:r>
            <a:r>
              <a:rPr lang="en-US"/>
              <a:t>with store managers, including relevant findings and source files for the conversation.</a:t>
            </a:r>
          </a:p>
        </p:txBody>
      </p:sp>
      <p:sp>
        <p:nvSpPr>
          <p:cNvPr id="66" name="Text Placeholder 65">
            <a:extLst>
              <a:ext uri="{FF2B5EF4-FFF2-40B4-BE49-F238E27FC236}">
                <a16:creationId xmlns:a16="http://schemas.microsoft.com/office/drawing/2014/main" id="{7D1CD277-5C9E-8839-8C1D-346A08B365B2}"/>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67" name="Text Placeholder 66">
            <a:extLst>
              <a:ext uri="{FF2B5EF4-FFF2-40B4-BE49-F238E27FC236}">
                <a16:creationId xmlns:a16="http://schemas.microsoft.com/office/drawing/2014/main" id="{AAA0B1E6-F903-FF73-4534-24B139BA0795}"/>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50" name="Text Placeholder 49">
            <a:extLst>
              <a:ext uri="{FF2B5EF4-FFF2-40B4-BE49-F238E27FC236}">
                <a16:creationId xmlns:a16="http://schemas.microsoft.com/office/drawing/2014/main" id="{3F3900B5-91E8-ED05-EE60-9AC1DE94EDC2}"/>
              </a:ext>
            </a:extLst>
          </p:cNvPr>
          <p:cNvSpPr>
            <a:spLocks noGrp="1"/>
          </p:cNvSpPr>
          <p:nvPr>
            <p:ph type="body" sz="quarter" idx="33"/>
          </p:nvPr>
        </p:nvSpPr>
        <p:spPr>
          <a:xfrm>
            <a:off x="304796" y="413987"/>
            <a:ext cx="1941119" cy="307777"/>
          </a:xfrm>
        </p:spPr>
        <p:txBody>
          <a:bodyPr/>
          <a:lstStyle/>
          <a:p>
            <a:r>
              <a:rPr lang="en-IN"/>
              <a:t>Retail</a:t>
            </a:r>
          </a:p>
        </p:txBody>
      </p:sp>
      <p:sp>
        <p:nvSpPr>
          <p:cNvPr id="46" name="Title 45">
            <a:extLst>
              <a:ext uri="{FF2B5EF4-FFF2-40B4-BE49-F238E27FC236}">
                <a16:creationId xmlns:a16="http://schemas.microsoft.com/office/drawing/2014/main" id="{295CB9F4-7D96-C6C2-728D-602E3B4A51D3}"/>
              </a:ext>
            </a:extLst>
          </p:cNvPr>
          <p:cNvSpPr>
            <a:spLocks noGrp="1"/>
          </p:cNvSpPr>
          <p:nvPr>
            <p:ph type="title"/>
          </p:nvPr>
        </p:nvSpPr>
        <p:spPr>
          <a:xfrm>
            <a:off x="2492556" y="429376"/>
            <a:ext cx="4144817" cy="276999"/>
          </a:xfrm>
        </p:spPr>
        <p:txBody>
          <a:bodyPr/>
          <a:lstStyle/>
          <a:p>
            <a:r>
              <a:rPr lang="en-US"/>
              <a:t>Maximize store performance</a:t>
            </a:r>
          </a:p>
        </p:txBody>
      </p:sp>
      <p:grpSp>
        <p:nvGrpSpPr>
          <p:cNvPr id="68" name="Group 67">
            <a:extLst>
              <a:ext uri="{FF2B5EF4-FFF2-40B4-BE49-F238E27FC236}">
                <a16:creationId xmlns:a16="http://schemas.microsoft.com/office/drawing/2014/main" id="{7E62F3A6-6B4F-B3E5-F5E6-F4902FD98A28}"/>
              </a:ext>
            </a:extLst>
          </p:cNvPr>
          <p:cNvGrpSpPr/>
          <p:nvPr/>
        </p:nvGrpSpPr>
        <p:grpSpPr>
          <a:xfrm>
            <a:off x="320719" y="3778836"/>
            <a:ext cx="1771605" cy="216000"/>
            <a:chOff x="320719" y="4224856"/>
            <a:chExt cx="1771605" cy="219456"/>
          </a:xfrm>
        </p:grpSpPr>
        <p:sp>
          <p:nvSpPr>
            <p:cNvPr id="69" name="Rectangle: Rounded Corners 6">
              <a:extLst>
                <a:ext uri="{FF2B5EF4-FFF2-40B4-BE49-F238E27FC236}">
                  <a16:creationId xmlns:a16="http://schemas.microsoft.com/office/drawing/2014/main" id="{6590D846-2F5B-6B95-7E08-51FC417F3E65}"/>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70" name="Graphic 69">
              <a:extLst>
                <a:ext uri="{FF2B5EF4-FFF2-40B4-BE49-F238E27FC236}">
                  <a16:creationId xmlns:a16="http://schemas.microsoft.com/office/drawing/2014/main" id="{964C9F37-DF48-D32C-A3C0-32BE651CEFB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71" name="Group 70">
            <a:extLst>
              <a:ext uri="{FF2B5EF4-FFF2-40B4-BE49-F238E27FC236}">
                <a16:creationId xmlns:a16="http://schemas.microsoft.com/office/drawing/2014/main" id="{18CDCE1F-FA8F-A815-756C-80AA16E6C39D}"/>
              </a:ext>
            </a:extLst>
          </p:cNvPr>
          <p:cNvGrpSpPr/>
          <p:nvPr/>
        </p:nvGrpSpPr>
        <p:grpSpPr>
          <a:xfrm>
            <a:off x="320721" y="4067450"/>
            <a:ext cx="1771605" cy="216000"/>
            <a:chOff x="320721" y="4517211"/>
            <a:chExt cx="1771605" cy="216000"/>
          </a:xfrm>
        </p:grpSpPr>
        <p:sp>
          <p:nvSpPr>
            <p:cNvPr id="72" name="Rectangle: Rounded Corners 6">
              <a:extLst>
                <a:ext uri="{FF2B5EF4-FFF2-40B4-BE49-F238E27FC236}">
                  <a16:creationId xmlns:a16="http://schemas.microsoft.com/office/drawing/2014/main" id="{B3E0C004-8CCF-E49D-F146-297C02D89780}"/>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ustomer satisfaction</a:t>
              </a:r>
            </a:p>
          </p:txBody>
        </p:sp>
        <p:pic>
          <p:nvPicPr>
            <p:cNvPr id="73" name="Graphic 72">
              <a:extLst>
                <a:ext uri="{FF2B5EF4-FFF2-40B4-BE49-F238E27FC236}">
                  <a16:creationId xmlns:a16="http://schemas.microsoft.com/office/drawing/2014/main" id="{4BDE49C8-E2A7-23B4-4953-94847F51D0B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507" y="4552645"/>
              <a:ext cx="144000" cy="141732"/>
            </a:xfrm>
            <a:prstGeom prst="rect">
              <a:avLst/>
            </a:prstGeom>
          </p:spPr>
        </p:pic>
      </p:grpSp>
      <p:grpSp>
        <p:nvGrpSpPr>
          <p:cNvPr id="77" name="Group 76">
            <a:extLst>
              <a:ext uri="{FF2B5EF4-FFF2-40B4-BE49-F238E27FC236}">
                <a16:creationId xmlns:a16="http://schemas.microsoft.com/office/drawing/2014/main" id="{EFF72F01-79AB-FE61-7B0E-0A06813927D7}"/>
              </a:ext>
            </a:extLst>
          </p:cNvPr>
          <p:cNvGrpSpPr/>
          <p:nvPr/>
        </p:nvGrpSpPr>
        <p:grpSpPr>
          <a:xfrm>
            <a:off x="320719" y="4356602"/>
            <a:ext cx="1771605" cy="216000"/>
            <a:chOff x="320719" y="4224856"/>
            <a:chExt cx="1771605" cy="219456"/>
          </a:xfrm>
        </p:grpSpPr>
        <p:sp>
          <p:nvSpPr>
            <p:cNvPr id="79" name="Rectangle: Rounded Corners 6">
              <a:extLst>
                <a:ext uri="{FF2B5EF4-FFF2-40B4-BE49-F238E27FC236}">
                  <a16:creationId xmlns:a16="http://schemas.microsoft.com/office/drawing/2014/main" id="{493E564D-4FD6-60BA-C43A-ECBE75CD871E}"/>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onversion rate</a:t>
              </a:r>
            </a:p>
          </p:txBody>
        </p:sp>
        <p:pic>
          <p:nvPicPr>
            <p:cNvPr id="83" name="Graphic 82">
              <a:extLst>
                <a:ext uri="{FF2B5EF4-FFF2-40B4-BE49-F238E27FC236}">
                  <a16:creationId xmlns:a16="http://schemas.microsoft.com/office/drawing/2014/main" id="{EB67078E-1EFD-BD01-3AC0-B47F4A889092}"/>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sp>
        <p:nvSpPr>
          <p:cNvPr id="31" name="TextBox 30">
            <a:extLst>
              <a:ext uri="{FF2B5EF4-FFF2-40B4-BE49-F238E27FC236}">
                <a16:creationId xmlns:a16="http://schemas.microsoft.com/office/drawing/2014/main" id="{2FE5B78E-5DE1-6F01-3C2E-EDD64868A655}"/>
              </a:ext>
              <a:ext uri="{C183D7F6-B498-43B3-948B-1728B52AA6E4}">
                <adec:decorative xmlns:adec="http://schemas.microsoft.com/office/drawing/2017/decorative" val="0"/>
              </a:ext>
            </a:extLst>
          </p:cNvPr>
          <p:cNvSpPr txBox="1"/>
          <p:nvPr/>
        </p:nvSpPr>
        <p:spPr>
          <a:xfrm>
            <a:off x="6426372" y="2252978"/>
            <a:ext cx="1490793" cy="12408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ERP solution</a:t>
            </a:r>
          </a:p>
        </p:txBody>
      </p:sp>
      <p:sp>
        <p:nvSpPr>
          <p:cNvPr id="78" name="Graphic 2">
            <a:hlinkClick r:id="rId8"/>
            <a:extLst>
              <a:ext uri="{FF2B5EF4-FFF2-40B4-BE49-F238E27FC236}">
                <a16:creationId xmlns:a16="http://schemas.microsoft.com/office/drawing/2014/main" id="{FA5BE942-0658-F9E4-5869-2060A2F9CC63}"/>
              </a:ext>
            </a:extLst>
          </p:cNvPr>
          <p:cNvSpPr>
            <a:spLocks/>
          </p:cNvSpPr>
          <p:nvPr/>
        </p:nvSpPr>
        <p:spPr>
          <a:xfrm>
            <a:off x="6304100" y="424834"/>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17AFBB3D-7800-7E15-5C8D-85713CD21850}"/>
              </a:ext>
              <a:ext uri="{C183D7F6-B498-43B3-948B-1728B52AA6E4}">
                <adec:decorative xmlns:adec="http://schemas.microsoft.com/office/drawing/2017/decorative" val="0"/>
              </a:ext>
            </a:extLst>
          </p:cNvPr>
          <p:cNvSpPr txBox="1"/>
          <p:nvPr/>
        </p:nvSpPr>
        <p:spPr>
          <a:xfrm>
            <a:off x="9309270" y="2252978"/>
            <a:ext cx="2379991" cy="12408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ERP solution</a:t>
            </a:r>
          </a:p>
        </p:txBody>
      </p:sp>
      <p:pic>
        <p:nvPicPr>
          <p:cNvPr id="119" name="Picture 118">
            <a:extLst>
              <a:ext uri="{FF2B5EF4-FFF2-40B4-BE49-F238E27FC236}">
                <a16:creationId xmlns:a16="http://schemas.microsoft.com/office/drawing/2014/main" id="{E2FC8D3D-36FC-1749-591A-877A5CB1B1B5}"/>
              </a:ext>
              <a:ext uri="{C183D7F6-B498-43B3-948B-1728B52AA6E4}">
                <adec:decorative xmlns:adec="http://schemas.microsoft.com/office/drawing/2017/decorative" val="0"/>
              </a:ext>
            </a:extLst>
          </p:cNvPr>
          <p:cNvPicPr>
            <a:picLocks/>
          </p:cNvPicPr>
          <p:nvPr/>
        </p:nvPicPr>
        <p:blipFill rotWithShape="1">
          <a:blip r:embed="rId9"/>
          <a:srcRect b="3736"/>
          <a:stretch/>
        </p:blipFill>
        <p:spPr>
          <a:xfrm>
            <a:off x="8950325" y="2207040"/>
            <a:ext cx="224338" cy="215956"/>
          </a:xfrm>
          <a:prstGeom prst="rect">
            <a:avLst/>
          </a:prstGeom>
          <a:ln w="6657" cap="flat">
            <a:noFill/>
            <a:prstDash val="solid"/>
            <a:miter/>
          </a:ln>
          <a:effectLst/>
        </p:spPr>
      </p:pic>
      <p:sp>
        <p:nvSpPr>
          <p:cNvPr id="28" name="TextBox 27">
            <a:extLst>
              <a:ext uri="{FF2B5EF4-FFF2-40B4-BE49-F238E27FC236}">
                <a16:creationId xmlns:a16="http://schemas.microsoft.com/office/drawing/2014/main" id="{72A2C39A-7471-66C6-3879-D2CF20B903EA}"/>
              </a:ext>
              <a:ext uri="{C183D7F6-B498-43B3-948B-1728B52AA6E4}">
                <adec:decorative xmlns:adec="http://schemas.microsoft.com/office/drawing/2017/decorative" val="0"/>
              </a:ext>
            </a:extLst>
          </p:cNvPr>
          <p:cNvSpPr txBox="1"/>
          <p:nvPr/>
        </p:nvSpPr>
        <p:spPr>
          <a:xfrm>
            <a:off x="3552825" y="2252978"/>
            <a:ext cx="2379991" cy="12408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ERP solution</a:t>
            </a:r>
          </a:p>
        </p:txBody>
      </p:sp>
      <p:pic>
        <p:nvPicPr>
          <p:cNvPr id="122" name="Picture 121">
            <a:extLst>
              <a:ext uri="{FF2B5EF4-FFF2-40B4-BE49-F238E27FC236}">
                <a16:creationId xmlns:a16="http://schemas.microsoft.com/office/drawing/2014/main" id="{F50A8E53-843A-0A48-5458-3E053629510A}"/>
              </a:ext>
              <a:ext uri="{C183D7F6-B498-43B3-948B-1728B52AA6E4}">
                <adec:decorative xmlns:adec="http://schemas.microsoft.com/office/drawing/2017/decorative" val="0"/>
              </a:ext>
            </a:extLst>
          </p:cNvPr>
          <p:cNvPicPr>
            <a:picLocks/>
          </p:cNvPicPr>
          <p:nvPr/>
        </p:nvPicPr>
        <p:blipFill rotWithShape="1">
          <a:blip r:embed="rId9"/>
          <a:srcRect b="3736"/>
          <a:stretch/>
        </p:blipFill>
        <p:spPr>
          <a:xfrm>
            <a:off x="6067425" y="2207040"/>
            <a:ext cx="224338" cy="215956"/>
          </a:xfrm>
          <a:prstGeom prst="rect">
            <a:avLst/>
          </a:prstGeom>
          <a:ln w="6657" cap="flat">
            <a:noFill/>
            <a:prstDash val="solid"/>
            <a:miter/>
          </a:ln>
          <a:effectLst/>
        </p:spPr>
      </p:pic>
      <p:pic>
        <p:nvPicPr>
          <p:cNvPr id="123" name="Picture 122">
            <a:extLst>
              <a:ext uri="{FF2B5EF4-FFF2-40B4-BE49-F238E27FC236}">
                <a16:creationId xmlns:a16="http://schemas.microsoft.com/office/drawing/2014/main" id="{C655BEB8-A87E-B4FC-E907-3CC3E4AD5745}"/>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3182938" y="2207040"/>
            <a:ext cx="224338" cy="215956"/>
          </a:xfrm>
          <a:prstGeom prst="rect">
            <a:avLst/>
          </a:prstGeom>
          <a:ln w="6657" cap="flat">
            <a:noFill/>
            <a:prstDash val="solid"/>
            <a:miter/>
          </a:ln>
          <a:effectLst/>
        </p:spPr>
      </p:pic>
      <p:sp>
        <p:nvSpPr>
          <p:cNvPr id="124" name="TextBox 123">
            <a:extLst>
              <a:ext uri="{FF2B5EF4-FFF2-40B4-BE49-F238E27FC236}">
                <a16:creationId xmlns:a16="http://schemas.microsoft.com/office/drawing/2014/main" id="{9D2196E1-A042-DDE7-55C6-2AA6DDFF28A6}"/>
              </a:ext>
              <a:ext uri="{C183D7F6-B498-43B3-948B-1728B52AA6E4}">
                <adec:decorative xmlns:adec="http://schemas.microsoft.com/office/drawing/2017/decorative" val="0"/>
              </a:ext>
            </a:extLst>
          </p:cNvPr>
          <p:cNvSpPr txBox="1"/>
          <p:nvPr/>
        </p:nvSpPr>
        <p:spPr>
          <a:xfrm>
            <a:off x="7886085" y="488446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1</a:t>
            </a:r>
          </a:p>
        </p:txBody>
      </p:sp>
      <p:pic>
        <p:nvPicPr>
          <p:cNvPr id="125" name="Picture 50">
            <a:hlinkClick r:id="rId10"/>
            <a:extLst>
              <a:ext uri="{FF2B5EF4-FFF2-40B4-BE49-F238E27FC236}">
                <a16:creationId xmlns:a16="http://schemas.microsoft.com/office/drawing/2014/main" id="{39680AD4-F23C-E71A-3FED-59BF98F5BE4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507483" y="4840226"/>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E71B8A7-7B47-2064-A161-5D85084488A0}"/>
              </a:ext>
              <a:ext uri="{C183D7F6-B498-43B3-948B-1728B52AA6E4}">
                <adec:decorative xmlns:adec="http://schemas.microsoft.com/office/drawing/2017/decorative" val="0"/>
              </a:ext>
            </a:extLst>
          </p:cNvPr>
          <p:cNvSpPr txBox="1"/>
          <p:nvPr/>
        </p:nvSpPr>
        <p:spPr>
          <a:xfrm>
            <a:off x="4882884" y="4902196"/>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1</a:t>
            </a:r>
          </a:p>
        </p:txBody>
      </p:sp>
      <p:pic>
        <p:nvPicPr>
          <p:cNvPr id="3" name="Picture 50">
            <a:hlinkClick r:id="rId10"/>
            <a:extLst>
              <a:ext uri="{FF2B5EF4-FFF2-40B4-BE49-F238E27FC236}">
                <a16:creationId xmlns:a16="http://schemas.microsoft.com/office/drawing/2014/main" id="{B027D2F7-F4C8-5B87-E21F-1C80AD1B3E4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504282" y="4857953"/>
            <a:ext cx="242374" cy="242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468428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E4359E-C131-7F2E-307F-9F6563226CBA}"/>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16826654-6E3C-E14C-B936-7CECEC145278}"/>
              </a:ext>
            </a:extLst>
          </p:cNvPr>
          <p:cNvSpPr txBox="1">
            <a:spLocks noGrp="1"/>
          </p:cNvSpPr>
          <p:nvPr>
            <p:ph type="title" idx="4294967295"/>
          </p:nvPr>
        </p:nvSpPr>
        <p:spPr>
          <a:xfrm>
            <a:off x="372602" y="198407"/>
            <a:ext cx="11018520"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gradFill>
                  <a:gsLst>
                    <a:gs pos="50000">
                      <a:schemeClr val="accent5"/>
                    </a:gs>
                    <a:gs pos="0">
                      <a:schemeClr val="accent1"/>
                    </a:gs>
                    <a:gs pos="100000">
                      <a:srgbClr val="C73ECC"/>
                    </a:gs>
                  </a:gsLst>
                  <a:lin ang="2700000" scaled="1"/>
                </a:gradFill>
                <a:effectLst/>
                <a:latin typeface="+mj-lt"/>
                <a:ea typeface="+mn-ea"/>
                <a:cs typeface="Segoe UI" pitchFamily="34" charset="0"/>
              </a:defRPr>
            </a:lvl1pPr>
          </a:lstStyle>
          <a:p>
            <a:pPr>
              <a:defRPr/>
            </a:pPr>
            <a:r>
              <a:rPr lang="en-US" noProof="0">
                <a:gradFill>
                  <a:gsLst>
                    <a:gs pos="0">
                      <a:srgbClr val="C03BC4"/>
                    </a:gs>
                    <a:gs pos="35000">
                      <a:srgbClr val="0078D4"/>
                    </a:gs>
                  </a:gsLst>
                  <a:path path="circle">
                    <a:fillToRect l="100000" t="100000"/>
                  </a:path>
                </a:gradFill>
                <a:cs typeface="Segoe UI"/>
              </a:rPr>
              <a:t>Top 10 to "Try First"</a:t>
            </a:r>
            <a:endParaRPr lang="en-US" sz="3200" b="0" i="0" u="none" strike="noStrike" kern="1200" cap="none" spc="-50" normalizeH="0" baseline="0" noProof="0">
              <a:ln w="3175">
                <a:noFill/>
              </a:ln>
              <a:gradFill>
                <a:gsLst>
                  <a:gs pos="0">
                    <a:srgbClr val="C03BC4"/>
                  </a:gs>
                  <a:gs pos="35000">
                    <a:srgbClr val="0078D4"/>
                  </a:gs>
                </a:gsLst>
                <a:path path="circle">
                  <a:fillToRect l="100000" t="100000"/>
                </a:path>
              </a:gradFill>
              <a:effectLst/>
              <a:uLnTx/>
              <a:uFillTx/>
              <a:latin typeface="+mj-lt"/>
              <a:cs typeface="Segoe UI" pitchFamily="34" charset="0"/>
            </a:endParaRPr>
          </a:p>
        </p:txBody>
      </p:sp>
      <p:sp>
        <p:nvSpPr>
          <p:cNvPr id="2" name="Title 34">
            <a:extLst>
              <a:ext uri="{FF2B5EF4-FFF2-40B4-BE49-F238E27FC236}">
                <a16:creationId xmlns:a16="http://schemas.microsoft.com/office/drawing/2014/main" id="{B02DF53D-75C1-7267-E29F-5E666815830B}"/>
              </a:ext>
            </a:extLst>
          </p:cNvPr>
          <p:cNvSpPr>
            <a:spLocks noGrp="1"/>
          </p:cNvSpPr>
          <p:nvPr/>
        </p:nvSpPr>
        <p:spPr>
          <a:xfrm>
            <a:off x="367499" y="684381"/>
            <a:ext cx="10594360" cy="430212"/>
          </a:xfrm>
          <a:prstGeom prst="rect">
            <a:avLst/>
          </a:prstGeom>
        </p:spPr>
        <p:txBody>
          <a:bodyPr vert="horz" wrap="square" lIns="0" tIns="0" rIns="0" bIns="0" rtlCol="0" anchor="t">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000000"/>
                </a:solidFill>
                <a:effectLst/>
                <a:uLnTx/>
                <a:uFillTx/>
                <a:latin typeface="Segoe UI Semilight"/>
                <a:ea typeface="+mn-ea"/>
                <a:cs typeface="Segoe UI"/>
              </a:rPr>
              <a:t>with Microsoft 365 Copilot</a:t>
            </a:r>
            <a:br>
              <a:rPr kumimoji="0" lang="en-US" sz="2400" b="0" i="0" u="none" strike="noStrike" kern="1200" cap="none" spc="-50" normalizeH="0" baseline="0" noProof="0">
                <a:ln w="3175">
                  <a:noFill/>
                </a:ln>
                <a:solidFill>
                  <a:srgbClr val="000000"/>
                </a:solidFill>
                <a:effectLst/>
                <a:uLnTx/>
                <a:uFillTx/>
                <a:latin typeface="Segoe UI Semilight"/>
                <a:ea typeface="+mn-ea"/>
                <a:cs typeface="Segoe UI" pitchFamily="34" charset="0"/>
              </a:rPr>
            </a:br>
            <a:r>
              <a:rPr kumimoji="0" lang="en-US" sz="1600" b="0" i="0" u="none" strike="noStrike" kern="1200" cap="none" spc="-50" normalizeH="0" baseline="0" noProof="0">
                <a:ln w="3175">
                  <a:noFill/>
                </a:ln>
                <a:solidFill>
                  <a:srgbClr val="000000"/>
                </a:solidFill>
                <a:effectLst/>
                <a:uLnTx/>
                <a:uFillTx/>
                <a:latin typeface="Segoe UI Semilight"/>
                <a:ea typeface="+mn-ea"/>
                <a:cs typeface="Segoe UI"/>
              </a:rPr>
              <a:t>Foundational skills for new users</a:t>
            </a:r>
            <a:endParaRPr kumimoji="0" lang="en-US" sz="3600" b="0" i="0" u="none" strike="noStrike" kern="1200" cap="none" spc="-50" normalizeH="0" baseline="0" noProof="0">
              <a:ln w="3175">
                <a:noFill/>
              </a:ln>
              <a:solidFill>
                <a:srgbClr val="000000"/>
              </a:solidFill>
              <a:effectLst/>
              <a:uLnTx/>
              <a:uFillTx/>
              <a:latin typeface="Segoe UI Semilight"/>
              <a:ea typeface="+mn-ea"/>
              <a:cs typeface="Segoe UI" pitchFamily="34" charset="0"/>
            </a:endParaRPr>
          </a:p>
        </p:txBody>
      </p:sp>
      <p:grpSp>
        <p:nvGrpSpPr>
          <p:cNvPr id="3" name="Group 2">
            <a:extLst>
              <a:ext uri="{FF2B5EF4-FFF2-40B4-BE49-F238E27FC236}">
                <a16:creationId xmlns:a16="http://schemas.microsoft.com/office/drawing/2014/main" id="{ECD28763-B1AC-1368-353F-E3CB9EC79183}"/>
              </a:ext>
              <a:ext uri="{C183D7F6-B498-43B3-948B-1728B52AA6E4}">
                <adec:decorative xmlns:adec="http://schemas.microsoft.com/office/drawing/2017/decorative" val="1"/>
              </a:ext>
            </a:extLst>
          </p:cNvPr>
          <p:cNvGrpSpPr/>
          <p:nvPr/>
        </p:nvGrpSpPr>
        <p:grpSpPr>
          <a:xfrm>
            <a:off x="505272" y="1463713"/>
            <a:ext cx="2153223" cy="2221428"/>
            <a:chOff x="505272" y="1463713"/>
            <a:chExt cx="2153223" cy="2221428"/>
          </a:xfrm>
        </p:grpSpPr>
        <p:sp>
          <p:nvSpPr>
            <p:cNvPr id="111" name="Rounded Rectangle 1">
              <a:extLst>
                <a:ext uri="{FF2B5EF4-FFF2-40B4-BE49-F238E27FC236}">
                  <a16:creationId xmlns:a16="http://schemas.microsoft.com/office/drawing/2014/main" id="{467BA974-1497-4303-B382-E2DB38E2159A}"/>
                </a:ext>
                <a:ext uri="{C183D7F6-B498-43B3-948B-1728B52AA6E4}">
                  <adec:decorative xmlns:adec="http://schemas.microsoft.com/office/drawing/2017/decorative" val="1"/>
                </a:ext>
              </a:extLst>
            </p:cNvPr>
            <p:cNvSpPr/>
            <p:nvPr/>
          </p:nvSpPr>
          <p:spPr bwMode="auto">
            <a:xfrm>
              <a:off x="505272"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12" name="TextBox 19">
              <a:extLst>
                <a:ext uri="{FF2B5EF4-FFF2-40B4-BE49-F238E27FC236}">
                  <a16:creationId xmlns:a16="http://schemas.microsoft.com/office/drawing/2014/main" id="{CA0061FF-C03E-4519-E536-291D72ABBD39}"/>
                </a:ext>
              </a:extLst>
            </p:cNvPr>
            <p:cNvSpPr txBox="1"/>
            <p:nvPr/>
          </p:nvSpPr>
          <p:spPr>
            <a:xfrm>
              <a:off x="626192" y="1957766"/>
              <a:ext cx="1922209" cy="1138773"/>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Recap a meeting</a:t>
              </a:r>
              <a:b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b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 </a:t>
              </a:r>
              <a:r>
                <a:rPr kumimoji="0" lang="en-US" sz="1000" b="0" i="0" u="none" strike="noStrike" kern="1200" cap="none" spc="0" normalizeH="0" baseline="0" noProof="0">
                  <a:ln>
                    <a:noFill/>
                  </a:ln>
                  <a:solidFill>
                    <a:prstClr val="black"/>
                  </a:solidFill>
                  <a:effectLst/>
                  <a:uLnTx/>
                  <a:uFillTx/>
                  <a:latin typeface="Segoe UI"/>
                  <a:ea typeface="+mn-ea"/>
                  <a:cs typeface="+mn-cs"/>
                </a:rPr>
                <a:t>– let Copilot keep track of key topics and action items so you can stay focused during the meeting and avoid listening to the recording after.</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TextBox 1">
              <a:extLst>
                <a:ext uri="{FF2B5EF4-FFF2-40B4-BE49-F238E27FC236}">
                  <a16:creationId xmlns:a16="http://schemas.microsoft.com/office/drawing/2014/main" id="{5B08E05C-BE0D-52CA-782B-380E390B8A4F}"/>
                </a:ext>
              </a:extLst>
            </p:cNvPr>
            <p:cNvSpPr txBox="1"/>
            <p:nvPr/>
          </p:nvSpPr>
          <p:spPr>
            <a:xfrm>
              <a:off x="2267041"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1</a:t>
              </a:r>
            </a:p>
          </p:txBody>
        </p:sp>
        <p:pic>
          <p:nvPicPr>
            <p:cNvPr id="114" name="Picture 113" descr="A logo of a company&#10;&#10;Description automatically generated">
              <a:extLst>
                <a:ext uri="{FF2B5EF4-FFF2-40B4-BE49-F238E27FC236}">
                  <a16:creationId xmlns:a16="http://schemas.microsoft.com/office/drawing/2014/main" id="{63694008-E2E7-3E0A-17BD-339FF1E3A08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97684" y="1612148"/>
              <a:ext cx="318387" cy="296130"/>
            </a:xfrm>
            <a:prstGeom prst="rect">
              <a:avLst/>
            </a:prstGeom>
          </p:spPr>
        </p:pic>
        <p:sp>
          <p:nvSpPr>
            <p:cNvPr id="115" name="TextBox 37">
              <a:extLst>
                <a:ext uri="{FF2B5EF4-FFF2-40B4-BE49-F238E27FC236}">
                  <a16:creationId xmlns:a16="http://schemas.microsoft.com/office/drawing/2014/main" id="{0EF18A96-1FFA-FA21-4986-DCF32877E958}"/>
                </a:ext>
              </a:extLst>
            </p:cNvPr>
            <p:cNvSpPr txBox="1"/>
            <p:nvPr/>
          </p:nvSpPr>
          <p:spPr>
            <a:xfrm>
              <a:off x="827732" y="3171742"/>
              <a:ext cx="1549719"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Draft an email with notes and action items from</a:t>
              </a:r>
              <a:r>
                <a:rPr kumimoji="0" lang="en-US" sz="800" b="0" i="0" u="none" strike="noStrike" kern="1200" cap="none" spc="0" normalizeH="0" baseline="0" noProof="0">
                  <a:ln>
                    <a:noFill/>
                  </a:ln>
                  <a:solidFill>
                    <a:srgbClr val="463668"/>
                  </a:solidFill>
                  <a:effectLst/>
                  <a:uLnTx/>
                  <a:uFillTx/>
                  <a:latin typeface="Segoe UI"/>
                  <a:ea typeface="+mn-ea"/>
                  <a:cs typeface="+mn-cs"/>
                </a:rPr>
                <a:t> meeting</a:t>
              </a:r>
              <a:endParaRPr kumimoji="0" lang="en-US" sz="1050" b="0" i="0" u="none" strike="noStrike" kern="1200" cap="none" spc="0" normalizeH="0" baseline="0" noProof="0">
                <a:ln>
                  <a:noFill/>
                </a:ln>
                <a:solidFill>
                  <a:srgbClr val="463668"/>
                </a:solidFill>
                <a:effectLst/>
                <a:uLnTx/>
                <a:uFillTx/>
                <a:latin typeface="Segoe UI"/>
                <a:ea typeface="+mn-ea"/>
                <a:cs typeface="+mn-cs"/>
              </a:endParaRPr>
            </a:p>
          </p:txBody>
        </p:sp>
        <p:pic>
          <p:nvPicPr>
            <p:cNvPr id="116" name="Graphic 38">
              <a:extLst>
                <a:ext uri="{FF2B5EF4-FFF2-40B4-BE49-F238E27FC236}">
                  <a16:creationId xmlns:a16="http://schemas.microsoft.com/office/drawing/2014/main" id="{FA3A722B-15AA-8D84-D0C0-43885B7AD6C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00506" y="3201363"/>
              <a:ext cx="163426" cy="163426"/>
            </a:xfrm>
            <a:prstGeom prst="rect">
              <a:avLst/>
            </a:prstGeom>
          </p:spPr>
        </p:pic>
      </p:grpSp>
      <p:grpSp>
        <p:nvGrpSpPr>
          <p:cNvPr id="46" name="Group 45">
            <a:extLst>
              <a:ext uri="{FF2B5EF4-FFF2-40B4-BE49-F238E27FC236}">
                <a16:creationId xmlns:a16="http://schemas.microsoft.com/office/drawing/2014/main" id="{1CE926CF-0683-E4DD-4CC9-0954FE4E5984}"/>
              </a:ext>
              <a:ext uri="{C183D7F6-B498-43B3-948B-1728B52AA6E4}">
                <adec:decorative xmlns:adec="http://schemas.microsoft.com/office/drawing/2017/decorative" val="1"/>
              </a:ext>
            </a:extLst>
          </p:cNvPr>
          <p:cNvGrpSpPr/>
          <p:nvPr/>
        </p:nvGrpSpPr>
        <p:grpSpPr>
          <a:xfrm>
            <a:off x="2766319" y="1463713"/>
            <a:ext cx="2153223" cy="2221428"/>
            <a:chOff x="2766319" y="1463713"/>
            <a:chExt cx="2153223" cy="2221428"/>
          </a:xfrm>
        </p:grpSpPr>
        <p:sp>
          <p:nvSpPr>
            <p:cNvPr id="105" name="Rounded Rectangle 1">
              <a:extLst>
                <a:ext uri="{FF2B5EF4-FFF2-40B4-BE49-F238E27FC236}">
                  <a16:creationId xmlns:a16="http://schemas.microsoft.com/office/drawing/2014/main" id="{F8C84E07-CECD-6B3A-D5AF-17A2F72EE594}"/>
                </a:ext>
                <a:ext uri="{C183D7F6-B498-43B3-948B-1728B52AA6E4}">
                  <adec:decorative xmlns:adec="http://schemas.microsoft.com/office/drawing/2017/decorative" val="1"/>
                </a:ext>
              </a:extLst>
            </p:cNvPr>
            <p:cNvSpPr/>
            <p:nvPr/>
          </p:nvSpPr>
          <p:spPr bwMode="auto">
            <a:xfrm>
              <a:off x="2766319"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06" name="TextBox 45">
              <a:extLst>
                <a:ext uri="{FF2B5EF4-FFF2-40B4-BE49-F238E27FC236}">
                  <a16:creationId xmlns:a16="http://schemas.microsoft.com/office/drawing/2014/main" id="{CE3B50AB-6AAB-4A97-1E5B-44F7543AEC55}"/>
                </a:ext>
              </a:extLst>
            </p:cNvPr>
            <p:cNvSpPr txBox="1"/>
            <p:nvPr/>
          </p:nvSpPr>
          <p:spPr>
            <a:xfrm>
              <a:off x="2887239" y="1957766"/>
              <a:ext cx="1859859" cy="882293"/>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Summarize an </a:t>
              </a:r>
              <a:b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b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email thread </a:t>
              </a:r>
              <a:endParaRPr kumimoji="0" lang="en-US" sz="12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get quickly caught up to a long, complex email thread.</a:t>
              </a:r>
            </a:p>
          </p:txBody>
        </p:sp>
        <p:sp>
          <p:nvSpPr>
            <p:cNvPr id="107" name="TextBox 2">
              <a:extLst>
                <a:ext uri="{FF2B5EF4-FFF2-40B4-BE49-F238E27FC236}">
                  <a16:creationId xmlns:a16="http://schemas.microsoft.com/office/drawing/2014/main" id="{B82971EB-8529-3233-5ECA-760441132984}"/>
                </a:ext>
              </a:extLst>
            </p:cNvPr>
            <p:cNvSpPr txBox="1"/>
            <p:nvPr/>
          </p:nvSpPr>
          <p:spPr>
            <a:xfrm>
              <a:off x="4528088"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2</a:t>
              </a:r>
            </a:p>
          </p:txBody>
        </p:sp>
        <p:pic>
          <p:nvPicPr>
            <p:cNvPr id="108" name="Picture 107" descr="A blue square with a letter o&#10;&#10;Description automatically generated">
              <a:extLst>
                <a:ext uri="{FF2B5EF4-FFF2-40B4-BE49-F238E27FC236}">
                  <a16:creationId xmlns:a16="http://schemas.microsoft.com/office/drawing/2014/main" id="{D7F38BF2-A3D6-3FFD-1FF2-8CE4E6BA54A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85814" y="1619990"/>
              <a:ext cx="301524" cy="280446"/>
            </a:xfrm>
            <a:prstGeom prst="rect">
              <a:avLst/>
            </a:prstGeom>
          </p:spPr>
        </p:pic>
        <p:sp>
          <p:nvSpPr>
            <p:cNvPr id="109" name="TextBox 39">
              <a:extLst>
                <a:ext uri="{FF2B5EF4-FFF2-40B4-BE49-F238E27FC236}">
                  <a16:creationId xmlns:a16="http://schemas.microsoft.com/office/drawing/2014/main" id="{1F1E9012-1D8E-AAEF-DD87-4FCA6DC1926D}"/>
                </a:ext>
              </a:extLst>
            </p:cNvPr>
            <p:cNvSpPr txBox="1"/>
            <p:nvPr/>
          </p:nvSpPr>
          <p:spPr>
            <a:xfrm>
              <a:off x="3085792" y="3171742"/>
              <a:ext cx="1549719" cy="21544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Click on the Summarize icon</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110" name="Graphic 40">
              <a:extLst>
                <a:ext uri="{FF2B5EF4-FFF2-40B4-BE49-F238E27FC236}">
                  <a16:creationId xmlns:a16="http://schemas.microsoft.com/office/drawing/2014/main" id="{40F1E4C5-D9BD-5F83-4A0A-7439D10DA436}"/>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58566" y="3201363"/>
              <a:ext cx="163426" cy="163426"/>
            </a:xfrm>
            <a:prstGeom prst="rect">
              <a:avLst/>
            </a:prstGeom>
          </p:spPr>
        </p:pic>
      </p:grpSp>
      <p:grpSp>
        <p:nvGrpSpPr>
          <p:cNvPr id="47" name="Group 46">
            <a:extLst>
              <a:ext uri="{FF2B5EF4-FFF2-40B4-BE49-F238E27FC236}">
                <a16:creationId xmlns:a16="http://schemas.microsoft.com/office/drawing/2014/main" id="{65D5E571-10C1-98A8-45FE-DE1F7EE8578F}"/>
              </a:ext>
            </a:extLst>
          </p:cNvPr>
          <p:cNvGrpSpPr/>
          <p:nvPr/>
        </p:nvGrpSpPr>
        <p:grpSpPr>
          <a:xfrm>
            <a:off x="7288413" y="1463713"/>
            <a:ext cx="2153223" cy="2221428"/>
            <a:chOff x="7288413" y="1463713"/>
            <a:chExt cx="2153223" cy="2221428"/>
          </a:xfrm>
        </p:grpSpPr>
        <p:sp>
          <p:nvSpPr>
            <p:cNvPr id="99" name="Rounded Rectangle 1">
              <a:extLst>
                <a:ext uri="{FF2B5EF4-FFF2-40B4-BE49-F238E27FC236}">
                  <a16:creationId xmlns:a16="http://schemas.microsoft.com/office/drawing/2014/main" id="{FB3B6796-8A08-91A7-93CB-001FFD3AC372}"/>
                </a:ext>
                <a:ext uri="{C183D7F6-B498-43B3-948B-1728B52AA6E4}">
                  <adec:decorative xmlns:adec="http://schemas.microsoft.com/office/drawing/2017/decorative" val="1"/>
                </a:ext>
              </a:extLst>
            </p:cNvPr>
            <p:cNvSpPr/>
            <p:nvPr/>
          </p:nvSpPr>
          <p:spPr bwMode="auto">
            <a:xfrm>
              <a:off x="7288413"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00" name="TextBox 53">
              <a:extLst>
                <a:ext uri="{FF2B5EF4-FFF2-40B4-BE49-F238E27FC236}">
                  <a16:creationId xmlns:a16="http://schemas.microsoft.com/office/drawing/2014/main" id="{1B99357D-4275-210A-8C91-4AC829EC87FA}"/>
                </a:ext>
              </a:extLst>
            </p:cNvPr>
            <p:cNvSpPr txBox="1"/>
            <p:nvPr/>
          </p:nvSpPr>
          <p:spPr>
            <a:xfrm>
              <a:off x="7409333" y="1957766"/>
              <a:ext cx="1814387" cy="119006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Summarize a document </a:t>
              </a:r>
              <a:endParaRPr kumimoji="0" lang="en-US" sz="12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get right down to business by summarizing long documents and focusing </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on the relevant sections.</a:t>
              </a:r>
            </a:p>
          </p:txBody>
        </p:sp>
        <p:sp>
          <p:nvSpPr>
            <p:cNvPr id="101" name="TextBox 5">
              <a:extLst>
                <a:ext uri="{FF2B5EF4-FFF2-40B4-BE49-F238E27FC236}">
                  <a16:creationId xmlns:a16="http://schemas.microsoft.com/office/drawing/2014/main" id="{F694DC2F-652A-66F8-1725-61FC41CD0477}"/>
                </a:ext>
              </a:extLst>
            </p:cNvPr>
            <p:cNvSpPr txBox="1"/>
            <p:nvPr/>
          </p:nvSpPr>
          <p:spPr>
            <a:xfrm>
              <a:off x="9050182"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4</a:t>
              </a:r>
            </a:p>
          </p:txBody>
        </p:sp>
        <p:pic>
          <p:nvPicPr>
            <p:cNvPr id="102" name="Picture 101">
              <a:extLst>
                <a:ext uri="{FF2B5EF4-FFF2-40B4-BE49-F238E27FC236}">
                  <a16:creationId xmlns:a16="http://schemas.microsoft.com/office/drawing/2014/main" id="{8318C110-12A8-4B29-AB5F-EE77B5E40CE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483196" y="1619990"/>
              <a:ext cx="318387" cy="280446"/>
            </a:xfrm>
            <a:prstGeom prst="rect">
              <a:avLst/>
            </a:prstGeom>
          </p:spPr>
        </p:pic>
        <p:sp>
          <p:nvSpPr>
            <p:cNvPr id="103" name="TextBox 44">
              <a:extLst>
                <a:ext uri="{FF2B5EF4-FFF2-40B4-BE49-F238E27FC236}">
                  <a16:creationId xmlns:a16="http://schemas.microsoft.com/office/drawing/2014/main" id="{4178A1EC-A451-9956-4A77-DF25EA6267BC}"/>
                </a:ext>
              </a:extLst>
            </p:cNvPr>
            <p:cNvSpPr txBox="1"/>
            <p:nvPr/>
          </p:nvSpPr>
          <p:spPr>
            <a:xfrm>
              <a:off x="7602300" y="3171742"/>
              <a:ext cx="1340058"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Give me a bulleted list of key points from </a:t>
              </a:r>
              <a:r>
                <a:rPr kumimoji="0" lang="en-US" sz="800" b="0" i="0" u="none" strike="noStrike" kern="1200" cap="none" spc="0" normalizeH="0" baseline="0" noProof="0">
                  <a:ln>
                    <a:noFill/>
                  </a:ln>
                  <a:solidFill>
                    <a:srgbClr val="463668"/>
                  </a:solidFill>
                  <a:effectLst/>
                  <a:uLnTx/>
                  <a:uFillTx/>
                  <a:latin typeface="Segoe UI"/>
                  <a:ea typeface="+mn-ea"/>
                  <a:cs typeface="+mn-cs"/>
                </a:rPr>
                <a:t>file</a:t>
              </a:r>
            </a:p>
          </p:txBody>
        </p:sp>
        <p:pic>
          <p:nvPicPr>
            <p:cNvPr id="104" name="Graphic 46">
              <a:extLst>
                <a:ext uri="{FF2B5EF4-FFF2-40B4-BE49-F238E27FC236}">
                  <a16:creationId xmlns:a16="http://schemas.microsoft.com/office/drawing/2014/main" id="{3F6524EA-55FF-2AC7-CFDC-22EF757DFE5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475073" y="3201363"/>
              <a:ext cx="163426" cy="163426"/>
            </a:xfrm>
            <a:prstGeom prst="rect">
              <a:avLst/>
            </a:prstGeom>
          </p:spPr>
        </p:pic>
      </p:grpSp>
      <p:grpSp>
        <p:nvGrpSpPr>
          <p:cNvPr id="48" name="Group 47">
            <a:extLst>
              <a:ext uri="{FF2B5EF4-FFF2-40B4-BE49-F238E27FC236}">
                <a16:creationId xmlns:a16="http://schemas.microsoft.com/office/drawing/2014/main" id="{238BFAA2-A197-FA09-2215-D6E2B1F27D0E}"/>
              </a:ext>
            </a:extLst>
          </p:cNvPr>
          <p:cNvGrpSpPr/>
          <p:nvPr/>
        </p:nvGrpSpPr>
        <p:grpSpPr>
          <a:xfrm>
            <a:off x="9549461" y="1463713"/>
            <a:ext cx="2261048" cy="2221428"/>
            <a:chOff x="9549461" y="1463713"/>
            <a:chExt cx="2261048" cy="2221428"/>
          </a:xfrm>
        </p:grpSpPr>
        <p:sp>
          <p:nvSpPr>
            <p:cNvPr id="93" name="Rounded Rectangle 1">
              <a:extLst>
                <a:ext uri="{FF2B5EF4-FFF2-40B4-BE49-F238E27FC236}">
                  <a16:creationId xmlns:a16="http://schemas.microsoft.com/office/drawing/2014/main" id="{59550B36-A5A6-502B-8676-F1D0E3B71FE4}"/>
                </a:ext>
                <a:ext uri="{C183D7F6-B498-43B3-948B-1728B52AA6E4}">
                  <adec:decorative xmlns:adec="http://schemas.microsoft.com/office/drawing/2017/decorative" val="1"/>
                </a:ext>
              </a:extLst>
            </p:cNvPr>
            <p:cNvSpPr/>
            <p:nvPr/>
          </p:nvSpPr>
          <p:spPr bwMode="auto">
            <a:xfrm>
              <a:off x="9549461"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94" name="TextBox 57">
              <a:extLst>
                <a:ext uri="{FF2B5EF4-FFF2-40B4-BE49-F238E27FC236}">
                  <a16:creationId xmlns:a16="http://schemas.microsoft.com/office/drawing/2014/main" id="{194B6E58-2795-6B2C-6957-567C5D02CB60}"/>
                </a:ext>
              </a:extLst>
            </p:cNvPr>
            <p:cNvSpPr txBox="1"/>
            <p:nvPr/>
          </p:nvSpPr>
          <p:spPr>
            <a:xfrm>
              <a:off x="9670382" y="1957766"/>
              <a:ext cx="1585640" cy="119006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Tell me about a topic/project </a:t>
              </a:r>
              <a:endParaRPr kumimoji="0" lang="en-US" sz="12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provide insights and analysis from across multiple sources to get up to speed quickly.</a:t>
              </a:r>
            </a:p>
          </p:txBody>
        </p:sp>
        <p:sp>
          <p:nvSpPr>
            <p:cNvPr id="95" name="TextBox 6">
              <a:extLst>
                <a:ext uri="{FF2B5EF4-FFF2-40B4-BE49-F238E27FC236}">
                  <a16:creationId xmlns:a16="http://schemas.microsoft.com/office/drawing/2014/main" id="{20190CE8-7963-C6AE-2F5B-BBF136262A72}"/>
                </a:ext>
              </a:extLst>
            </p:cNvPr>
            <p:cNvSpPr txBox="1"/>
            <p:nvPr/>
          </p:nvSpPr>
          <p:spPr>
            <a:xfrm>
              <a:off x="11311230"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5</a:t>
              </a:r>
            </a:p>
          </p:txBody>
        </p:sp>
        <p:pic>
          <p:nvPicPr>
            <p:cNvPr id="96" name="Picture 95">
              <a:extLst>
                <a:ext uri="{FF2B5EF4-FFF2-40B4-BE49-F238E27FC236}">
                  <a16:creationId xmlns:a16="http://schemas.microsoft.com/office/drawing/2014/main" id="{2BF77F10-0F91-982A-CB4C-5224FF1627C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740013" y="1619990"/>
              <a:ext cx="318387" cy="280446"/>
            </a:xfrm>
            <a:prstGeom prst="rect">
              <a:avLst/>
            </a:prstGeom>
          </p:spPr>
        </p:pic>
        <p:sp>
          <p:nvSpPr>
            <p:cNvPr id="97" name="TextBox 48">
              <a:extLst>
                <a:ext uri="{FF2B5EF4-FFF2-40B4-BE49-F238E27FC236}">
                  <a16:creationId xmlns:a16="http://schemas.microsoft.com/office/drawing/2014/main" id="{023FB5F8-BAC0-CF3A-FE68-7D3F2BD4AFDC}"/>
                </a:ext>
              </a:extLst>
            </p:cNvPr>
            <p:cNvSpPr txBox="1"/>
            <p:nvPr/>
          </p:nvSpPr>
          <p:spPr>
            <a:xfrm>
              <a:off x="9866807" y="3171742"/>
              <a:ext cx="1943702"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Tell me what's new about</a:t>
              </a:r>
              <a:r>
                <a:rPr kumimoji="0" lang="en-US" sz="800" b="0" i="0" u="none" strike="noStrike" kern="1200" cap="none" spc="0" normalizeH="0" baseline="0" noProof="0">
                  <a:ln>
                    <a:noFill/>
                  </a:ln>
                  <a:solidFill>
                    <a:srgbClr val="463668"/>
                  </a:solidFill>
                  <a:effectLst/>
                  <a:uLnTx/>
                  <a:uFillTx/>
                  <a:latin typeface="Segoe UI"/>
                  <a:ea typeface="+mn-ea"/>
                  <a:cs typeface="+mn-cs"/>
                </a:rPr>
                <a:t> topic</a:t>
              </a:r>
              <a:r>
                <a:rPr kumimoji="0" lang="en-US" sz="800" b="0" i="0" u="none" strike="noStrike" kern="1200" cap="none" spc="0" normalizeH="0" baseline="0" noProof="0">
                  <a:ln>
                    <a:noFill/>
                  </a:ln>
                  <a:solidFill>
                    <a:prstClr val="black"/>
                  </a:solidFill>
                  <a:effectLst/>
                  <a:uLnTx/>
                  <a:uFillTx/>
                  <a:latin typeface="Segoe UI"/>
                  <a:ea typeface="+mn-ea"/>
                  <a:cs typeface="+mn-cs"/>
                </a:rPr>
                <a:t> organized by emails, chats, and files?</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98" name="Graphic 50">
              <a:extLst>
                <a:ext uri="{FF2B5EF4-FFF2-40B4-BE49-F238E27FC236}">
                  <a16:creationId xmlns:a16="http://schemas.microsoft.com/office/drawing/2014/main" id="{4F88AF6B-8764-0722-06D7-07BF343AEE44}"/>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739581" y="3201363"/>
              <a:ext cx="163426" cy="163426"/>
            </a:xfrm>
            <a:prstGeom prst="rect">
              <a:avLst/>
            </a:prstGeom>
          </p:spPr>
        </p:pic>
      </p:grpSp>
      <p:grpSp>
        <p:nvGrpSpPr>
          <p:cNvPr id="49" name="Group 48">
            <a:extLst>
              <a:ext uri="{FF2B5EF4-FFF2-40B4-BE49-F238E27FC236}">
                <a16:creationId xmlns:a16="http://schemas.microsoft.com/office/drawing/2014/main" id="{80040FE4-F8E4-82D9-470D-39D9BBF8F8C9}"/>
              </a:ext>
            </a:extLst>
          </p:cNvPr>
          <p:cNvGrpSpPr/>
          <p:nvPr/>
        </p:nvGrpSpPr>
        <p:grpSpPr>
          <a:xfrm>
            <a:off x="505272" y="3809424"/>
            <a:ext cx="2153223" cy="2221429"/>
            <a:chOff x="505272" y="3809424"/>
            <a:chExt cx="2153223" cy="2221429"/>
          </a:xfrm>
        </p:grpSpPr>
        <p:sp>
          <p:nvSpPr>
            <p:cNvPr id="87" name="Rounded Rectangle 1">
              <a:extLst>
                <a:ext uri="{FF2B5EF4-FFF2-40B4-BE49-F238E27FC236}">
                  <a16:creationId xmlns:a16="http://schemas.microsoft.com/office/drawing/2014/main" id="{BB679FF4-82BC-65AD-EA4D-7CEE70327781}"/>
                </a:ext>
                <a:ext uri="{C183D7F6-B498-43B3-948B-1728B52AA6E4}">
                  <adec:decorative xmlns:adec="http://schemas.microsoft.com/office/drawing/2017/decorative" val="1"/>
                </a:ext>
              </a:extLst>
            </p:cNvPr>
            <p:cNvSpPr/>
            <p:nvPr/>
          </p:nvSpPr>
          <p:spPr bwMode="auto">
            <a:xfrm>
              <a:off x="505272" y="3809425"/>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88" name="TextBox 61">
              <a:extLst>
                <a:ext uri="{FF2B5EF4-FFF2-40B4-BE49-F238E27FC236}">
                  <a16:creationId xmlns:a16="http://schemas.microsoft.com/office/drawing/2014/main" id="{CF2C10A1-0DD1-78D9-DC0C-BC6BF38A499C}"/>
                </a:ext>
              </a:extLst>
            </p:cNvPr>
            <p:cNvSpPr txBox="1"/>
            <p:nvPr/>
          </p:nvSpPr>
          <p:spPr>
            <a:xfrm>
              <a:off x="626192" y="4303478"/>
              <a:ext cx="1744774" cy="119006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Give me some ideas for </a:t>
              </a:r>
              <a:r>
                <a:rPr kumimoji="0" lang="en-US" sz="12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boost your creativity with ideas for your work such as agendas, product names, social media posts, etc.</a:t>
              </a:r>
            </a:p>
          </p:txBody>
        </p:sp>
        <p:sp>
          <p:nvSpPr>
            <p:cNvPr id="89" name="TextBox 7">
              <a:extLst>
                <a:ext uri="{FF2B5EF4-FFF2-40B4-BE49-F238E27FC236}">
                  <a16:creationId xmlns:a16="http://schemas.microsoft.com/office/drawing/2014/main" id="{F084CF4F-AB5A-F938-7EF7-C2502EFC5F94}"/>
                </a:ext>
              </a:extLst>
            </p:cNvPr>
            <p:cNvSpPr txBox="1"/>
            <p:nvPr/>
          </p:nvSpPr>
          <p:spPr>
            <a:xfrm>
              <a:off x="2267041" y="3809424"/>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6</a:t>
              </a:r>
            </a:p>
          </p:txBody>
        </p:sp>
        <p:pic>
          <p:nvPicPr>
            <p:cNvPr id="90" name="Picture 89">
              <a:extLst>
                <a:ext uri="{FF2B5EF4-FFF2-40B4-BE49-F238E27FC236}">
                  <a16:creationId xmlns:a16="http://schemas.microsoft.com/office/drawing/2014/main" id="{3C8BC9C7-E0A3-DE69-2484-93F4F979AC2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97685" y="3990229"/>
              <a:ext cx="318387" cy="280446"/>
            </a:xfrm>
            <a:prstGeom prst="rect">
              <a:avLst/>
            </a:prstGeom>
          </p:spPr>
        </p:pic>
        <p:sp>
          <p:nvSpPr>
            <p:cNvPr id="91" name="TextBox 52">
              <a:extLst>
                <a:ext uri="{FF2B5EF4-FFF2-40B4-BE49-F238E27FC236}">
                  <a16:creationId xmlns:a16="http://schemas.microsoft.com/office/drawing/2014/main" id="{77F6939C-AE0E-47F4-E792-DD7EB2CA3EBB}"/>
                </a:ext>
              </a:extLst>
            </p:cNvPr>
            <p:cNvSpPr txBox="1"/>
            <p:nvPr/>
          </p:nvSpPr>
          <p:spPr>
            <a:xfrm>
              <a:off x="827732" y="5531704"/>
              <a:ext cx="1549719"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Suggest 10 compelling taglines based on </a:t>
              </a:r>
              <a:r>
                <a:rPr kumimoji="0" lang="en-US" sz="800" b="0" i="0" u="none" strike="noStrike" kern="1200" cap="none" spc="0" normalizeH="0" baseline="0" noProof="0">
                  <a:ln>
                    <a:noFill/>
                  </a:ln>
                  <a:solidFill>
                    <a:srgbClr val="463668"/>
                  </a:solidFill>
                  <a:effectLst/>
                  <a:uLnTx/>
                  <a:uFillTx/>
                  <a:latin typeface="Segoe UI"/>
                  <a:ea typeface="+mn-ea"/>
                  <a:cs typeface="+mn-cs"/>
                </a:rPr>
                <a:t>file </a:t>
              </a:r>
              <a:endParaRPr kumimoji="0" lang="en-US" sz="800" b="0" i="0" u="none" strike="noStrike" kern="1200" cap="none" spc="0" normalizeH="0" baseline="0" noProof="0">
                <a:ln>
                  <a:noFill/>
                </a:ln>
                <a:solidFill>
                  <a:prstClr val="black"/>
                </a:solidFill>
                <a:effectLst/>
                <a:uLnTx/>
                <a:uFillTx/>
                <a:latin typeface="Segoe UI"/>
                <a:ea typeface="+mn-ea"/>
                <a:cs typeface="+mn-cs"/>
              </a:endParaRPr>
            </a:p>
          </p:txBody>
        </p:sp>
        <p:pic>
          <p:nvPicPr>
            <p:cNvPr id="92" name="Graphic 54">
              <a:extLst>
                <a:ext uri="{FF2B5EF4-FFF2-40B4-BE49-F238E27FC236}">
                  <a16:creationId xmlns:a16="http://schemas.microsoft.com/office/drawing/2014/main" id="{65761076-6D3D-7556-10B2-97B635C633C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00506" y="5561325"/>
              <a:ext cx="163426" cy="163426"/>
            </a:xfrm>
            <a:prstGeom prst="rect">
              <a:avLst/>
            </a:prstGeom>
          </p:spPr>
        </p:pic>
      </p:grpSp>
      <p:grpSp>
        <p:nvGrpSpPr>
          <p:cNvPr id="50" name="Group 49">
            <a:extLst>
              <a:ext uri="{FF2B5EF4-FFF2-40B4-BE49-F238E27FC236}">
                <a16:creationId xmlns:a16="http://schemas.microsoft.com/office/drawing/2014/main" id="{4C8CDEB3-72A7-6912-DCE1-144EC22275A7}"/>
              </a:ext>
            </a:extLst>
          </p:cNvPr>
          <p:cNvGrpSpPr/>
          <p:nvPr/>
        </p:nvGrpSpPr>
        <p:grpSpPr>
          <a:xfrm>
            <a:off x="5027366" y="3809424"/>
            <a:ext cx="2153223" cy="2221428"/>
            <a:chOff x="5027366" y="3809424"/>
            <a:chExt cx="2153223" cy="2221428"/>
          </a:xfrm>
        </p:grpSpPr>
        <p:sp>
          <p:nvSpPr>
            <p:cNvPr id="81" name="Rounded Rectangle 1">
              <a:extLst>
                <a:ext uri="{FF2B5EF4-FFF2-40B4-BE49-F238E27FC236}">
                  <a16:creationId xmlns:a16="http://schemas.microsoft.com/office/drawing/2014/main" id="{2FFB0952-0EFB-5087-4B0B-532FD1084B1A}"/>
                </a:ext>
                <a:ext uri="{C183D7F6-B498-43B3-948B-1728B52AA6E4}">
                  <adec:decorative xmlns:adec="http://schemas.microsoft.com/office/drawing/2017/decorative" val="1"/>
                </a:ext>
              </a:extLst>
            </p:cNvPr>
            <p:cNvSpPr/>
            <p:nvPr/>
          </p:nvSpPr>
          <p:spPr bwMode="auto">
            <a:xfrm>
              <a:off x="5027366" y="3809424"/>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82" name="TextBox 69">
              <a:extLst>
                <a:ext uri="{FF2B5EF4-FFF2-40B4-BE49-F238E27FC236}">
                  <a16:creationId xmlns:a16="http://schemas.microsoft.com/office/drawing/2014/main" id="{E52BAE3D-B4AF-4E1B-8FBC-6434A4F04572}"/>
                </a:ext>
              </a:extLst>
            </p:cNvPr>
            <p:cNvSpPr txBox="1"/>
            <p:nvPr/>
          </p:nvSpPr>
          <p:spPr>
            <a:xfrm>
              <a:off x="5148286" y="4303478"/>
              <a:ext cx="1932245" cy="82073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What did they say …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when you vaguely remember someone mentioning a topic, have Copilot do the research.</a:t>
              </a:r>
            </a:p>
          </p:txBody>
        </p:sp>
        <p:sp>
          <p:nvSpPr>
            <p:cNvPr id="83" name="TextBox 9">
              <a:extLst>
                <a:ext uri="{FF2B5EF4-FFF2-40B4-BE49-F238E27FC236}">
                  <a16:creationId xmlns:a16="http://schemas.microsoft.com/office/drawing/2014/main" id="{05EA08C6-2AF3-B118-625F-6FD3BBAFE6C1}"/>
                </a:ext>
              </a:extLst>
            </p:cNvPr>
            <p:cNvSpPr txBox="1"/>
            <p:nvPr/>
          </p:nvSpPr>
          <p:spPr>
            <a:xfrm>
              <a:off x="6789135" y="3809424"/>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8</a:t>
              </a:r>
            </a:p>
          </p:txBody>
        </p:sp>
        <p:pic>
          <p:nvPicPr>
            <p:cNvPr id="84" name="Picture 83">
              <a:extLst>
                <a:ext uri="{FF2B5EF4-FFF2-40B4-BE49-F238E27FC236}">
                  <a16:creationId xmlns:a16="http://schemas.microsoft.com/office/drawing/2014/main" id="{48486E2F-78CF-A749-ED75-BE7255B935E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204834" y="3990229"/>
              <a:ext cx="318387" cy="280446"/>
            </a:xfrm>
            <a:prstGeom prst="rect">
              <a:avLst/>
            </a:prstGeom>
          </p:spPr>
        </p:pic>
        <p:sp>
          <p:nvSpPr>
            <p:cNvPr id="85" name="TextBox 60">
              <a:extLst>
                <a:ext uri="{FF2B5EF4-FFF2-40B4-BE49-F238E27FC236}">
                  <a16:creationId xmlns:a16="http://schemas.microsoft.com/office/drawing/2014/main" id="{5490C1F1-BD9A-DDDF-DD09-B99848722ED8}"/>
                </a:ext>
              </a:extLst>
            </p:cNvPr>
            <p:cNvSpPr txBox="1"/>
            <p:nvPr/>
          </p:nvSpPr>
          <p:spPr>
            <a:xfrm>
              <a:off x="5338447" y="5531704"/>
              <a:ext cx="1062417"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What did </a:t>
              </a:r>
              <a:r>
                <a:rPr kumimoji="0" lang="en-US" sz="800" b="0" i="0" u="none" strike="noStrike" kern="1200" cap="none" spc="0" normalizeH="0" baseline="0" noProof="0">
                  <a:ln>
                    <a:noFill/>
                  </a:ln>
                  <a:solidFill>
                    <a:srgbClr val="463668"/>
                  </a:solidFill>
                  <a:effectLst/>
                  <a:uLnTx/>
                  <a:uFillTx/>
                  <a:latin typeface="Segoe UI"/>
                  <a:ea typeface="+mn-ea"/>
                  <a:cs typeface="+mn-cs"/>
                </a:rPr>
                <a:t>person</a:t>
              </a:r>
              <a:r>
                <a:rPr kumimoji="0" lang="en-US" sz="800" b="0" i="0" u="none" strike="noStrike" kern="1200" cap="none" spc="0" normalizeH="0" baseline="0" noProof="0">
                  <a:ln>
                    <a:noFill/>
                  </a:ln>
                  <a:solidFill>
                    <a:prstClr val="black"/>
                  </a:solidFill>
                  <a:effectLst/>
                  <a:uLnTx/>
                  <a:uFillTx/>
                  <a:latin typeface="Segoe UI"/>
                  <a:ea typeface="+mn-ea"/>
                  <a:cs typeface="+mn-cs"/>
                </a:rPr>
                <a:t> say about </a:t>
              </a:r>
              <a:r>
                <a:rPr kumimoji="0" lang="en-US" sz="800" b="0" i="0" u="none" strike="noStrike" kern="1200" cap="none" spc="0" normalizeH="0" baseline="0" noProof="0">
                  <a:ln>
                    <a:noFill/>
                  </a:ln>
                  <a:solidFill>
                    <a:srgbClr val="463668"/>
                  </a:solidFill>
                  <a:effectLst/>
                  <a:uLnTx/>
                  <a:uFillTx/>
                  <a:latin typeface="Segoe UI"/>
                  <a:ea typeface="+mn-ea"/>
                  <a:cs typeface="+mn-cs"/>
                </a:rPr>
                <a:t>topic</a:t>
              </a:r>
            </a:p>
          </p:txBody>
        </p:sp>
        <p:pic>
          <p:nvPicPr>
            <p:cNvPr id="86" name="Graphic 62">
              <a:extLst>
                <a:ext uri="{FF2B5EF4-FFF2-40B4-BE49-F238E27FC236}">
                  <a16:creationId xmlns:a16="http://schemas.microsoft.com/office/drawing/2014/main" id="{3CFE66D8-7B77-EE15-8E3A-391C9C8DC3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211221" y="5561325"/>
              <a:ext cx="163426" cy="163426"/>
            </a:xfrm>
            <a:prstGeom prst="rect">
              <a:avLst/>
            </a:prstGeom>
          </p:spPr>
        </p:pic>
      </p:grpSp>
      <p:grpSp>
        <p:nvGrpSpPr>
          <p:cNvPr id="51" name="Group 50">
            <a:extLst>
              <a:ext uri="{FF2B5EF4-FFF2-40B4-BE49-F238E27FC236}">
                <a16:creationId xmlns:a16="http://schemas.microsoft.com/office/drawing/2014/main" id="{1AA13A1F-3E81-D5C9-D38E-E1311C0BB222}"/>
              </a:ext>
            </a:extLst>
          </p:cNvPr>
          <p:cNvGrpSpPr/>
          <p:nvPr/>
        </p:nvGrpSpPr>
        <p:grpSpPr>
          <a:xfrm>
            <a:off x="9549461" y="3809424"/>
            <a:ext cx="2153223" cy="2221427"/>
            <a:chOff x="9549461" y="3809424"/>
            <a:chExt cx="2153223" cy="2221427"/>
          </a:xfrm>
        </p:grpSpPr>
        <p:sp>
          <p:nvSpPr>
            <p:cNvPr id="75" name="Rounded Rectangle 1">
              <a:extLst>
                <a:ext uri="{FF2B5EF4-FFF2-40B4-BE49-F238E27FC236}">
                  <a16:creationId xmlns:a16="http://schemas.microsoft.com/office/drawing/2014/main" id="{2CB8BC68-4A0F-DF73-9429-B5345E4A9D51}"/>
                </a:ext>
                <a:ext uri="{C183D7F6-B498-43B3-948B-1728B52AA6E4}">
                  <adec:decorative xmlns:adec="http://schemas.microsoft.com/office/drawing/2017/decorative" val="1"/>
                </a:ext>
              </a:extLst>
            </p:cNvPr>
            <p:cNvSpPr/>
            <p:nvPr/>
          </p:nvSpPr>
          <p:spPr bwMode="auto">
            <a:xfrm>
              <a:off x="9549461" y="3809424"/>
              <a:ext cx="2153223" cy="2221427"/>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76" name="TextBox 77">
              <a:extLst>
                <a:ext uri="{FF2B5EF4-FFF2-40B4-BE49-F238E27FC236}">
                  <a16:creationId xmlns:a16="http://schemas.microsoft.com/office/drawing/2014/main" id="{1C7CBD6D-CEB8-F2AE-5C57-A793C4CD3CED}"/>
                </a:ext>
              </a:extLst>
            </p:cNvPr>
            <p:cNvSpPr txBox="1"/>
            <p:nvPr/>
          </p:nvSpPr>
          <p:spPr>
            <a:xfrm>
              <a:off x="9670381" y="4303478"/>
              <a:ext cx="1895427" cy="112851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Translate a message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with business becoming increasingly international, it’s important to be able to read or write messages in other languages.</a:t>
              </a:r>
            </a:p>
          </p:txBody>
        </p:sp>
        <p:sp>
          <p:nvSpPr>
            <p:cNvPr id="77" name="TextBox 11">
              <a:extLst>
                <a:ext uri="{FF2B5EF4-FFF2-40B4-BE49-F238E27FC236}">
                  <a16:creationId xmlns:a16="http://schemas.microsoft.com/office/drawing/2014/main" id="{FF9CFBFA-5D67-8DB3-95F3-8E0483267F3A}"/>
                </a:ext>
              </a:extLst>
            </p:cNvPr>
            <p:cNvSpPr txBox="1"/>
            <p:nvPr/>
          </p:nvSpPr>
          <p:spPr>
            <a:xfrm>
              <a:off x="11104442" y="3809424"/>
              <a:ext cx="598242"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10</a:t>
              </a:r>
            </a:p>
          </p:txBody>
        </p:sp>
        <p:pic>
          <p:nvPicPr>
            <p:cNvPr id="78" name="Picture 77">
              <a:extLst>
                <a:ext uri="{FF2B5EF4-FFF2-40B4-BE49-F238E27FC236}">
                  <a16:creationId xmlns:a16="http://schemas.microsoft.com/office/drawing/2014/main" id="{5C96A3F8-2E2F-D120-ECB1-56202343EC7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740013" y="3990229"/>
              <a:ext cx="318387" cy="280446"/>
            </a:xfrm>
            <a:prstGeom prst="rect">
              <a:avLst/>
            </a:prstGeom>
          </p:spPr>
        </p:pic>
        <p:sp>
          <p:nvSpPr>
            <p:cNvPr id="79" name="TextBox 68">
              <a:extLst>
                <a:ext uri="{FF2B5EF4-FFF2-40B4-BE49-F238E27FC236}">
                  <a16:creationId xmlns:a16="http://schemas.microsoft.com/office/drawing/2014/main" id="{40F39368-80B5-2D20-CB6E-EC40E0407BB9}"/>
                </a:ext>
              </a:extLst>
            </p:cNvPr>
            <p:cNvSpPr txBox="1"/>
            <p:nvPr/>
          </p:nvSpPr>
          <p:spPr>
            <a:xfrm>
              <a:off x="9866807" y="5531704"/>
              <a:ext cx="1237635" cy="33855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Translate the following text into French: </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80" name="Graphic 70">
              <a:extLst>
                <a:ext uri="{FF2B5EF4-FFF2-40B4-BE49-F238E27FC236}">
                  <a16:creationId xmlns:a16="http://schemas.microsoft.com/office/drawing/2014/main" id="{23B1E8BE-C7E2-9EE3-65B8-0B813CE0D5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739581" y="5561325"/>
              <a:ext cx="163426" cy="163426"/>
            </a:xfrm>
            <a:prstGeom prst="rect">
              <a:avLst/>
            </a:prstGeom>
          </p:spPr>
        </p:pic>
      </p:grpSp>
      <p:grpSp>
        <p:nvGrpSpPr>
          <p:cNvPr id="52" name="Group 51">
            <a:extLst>
              <a:ext uri="{FF2B5EF4-FFF2-40B4-BE49-F238E27FC236}">
                <a16:creationId xmlns:a16="http://schemas.microsoft.com/office/drawing/2014/main" id="{4EC09701-7D54-23C5-EE17-469EC77CC48F}"/>
              </a:ext>
              <a:ext uri="{C183D7F6-B498-43B3-948B-1728B52AA6E4}">
                <adec:decorative xmlns:adec="http://schemas.microsoft.com/office/drawing/2017/decorative" val="1"/>
              </a:ext>
            </a:extLst>
          </p:cNvPr>
          <p:cNvGrpSpPr/>
          <p:nvPr/>
        </p:nvGrpSpPr>
        <p:grpSpPr>
          <a:xfrm>
            <a:off x="5027366" y="1463713"/>
            <a:ext cx="2153223" cy="2221428"/>
            <a:chOff x="5027366" y="1463713"/>
            <a:chExt cx="2153223" cy="2221428"/>
          </a:xfrm>
        </p:grpSpPr>
        <p:sp>
          <p:nvSpPr>
            <p:cNvPr id="69" name="Rounded Rectangle 1">
              <a:extLst>
                <a:ext uri="{FF2B5EF4-FFF2-40B4-BE49-F238E27FC236}">
                  <a16:creationId xmlns:a16="http://schemas.microsoft.com/office/drawing/2014/main" id="{A16D7BC9-CC42-6637-0619-9FC39BBBA2E5}"/>
                </a:ext>
                <a:ext uri="{C183D7F6-B498-43B3-948B-1728B52AA6E4}">
                  <adec:decorative xmlns:adec="http://schemas.microsoft.com/office/drawing/2017/decorative" val="1"/>
                </a:ext>
              </a:extLst>
            </p:cNvPr>
            <p:cNvSpPr/>
            <p:nvPr/>
          </p:nvSpPr>
          <p:spPr bwMode="auto">
            <a:xfrm>
              <a:off x="5027366"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70" name="TextBox 49">
              <a:extLst>
                <a:ext uri="{FF2B5EF4-FFF2-40B4-BE49-F238E27FC236}">
                  <a16:creationId xmlns:a16="http://schemas.microsoft.com/office/drawing/2014/main" id="{7AFBB748-579B-3C99-1D2B-06F6827E18F7}"/>
                </a:ext>
              </a:extLst>
            </p:cNvPr>
            <p:cNvSpPr txBox="1"/>
            <p:nvPr/>
          </p:nvSpPr>
          <p:spPr>
            <a:xfrm>
              <a:off x="5148286" y="1957766"/>
              <a:ext cx="1814385" cy="66684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Draft email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personalize the tone and length.</a:t>
              </a:r>
            </a:p>
          </p:txBody>
        </p:sp>
        <p:sp>
          <p:nvSpPr>
            <p:cNvPr id="71" name="TextBox 3">
              <a:extLst>
                <a:ext uri="{FF2B5EF4-FFF2-40B4-BE49-F238E27FC236}">
                  <a16:creationId xmlns:a16="http://schemas.microsoft.com/office/drawing/2014/main" id="{2ADAF7D3-1361-516B-4C57-0716A04B1728}"/>
                </a:ext>
              </a:extLst>
            </p:cNvPr>
            <p:cNvSpPr txBox="1"/>
            <p:nvPr/>
          </p:nvSpPr>
          <p:spPr>
            <a:xfrm>
              <a:off x="6789135"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3</a:t>
              </a:r>
            </a:p>
          </p:txBody>
        </p:sp>
        <p:sp>
          <p:nvSpPr>
            <p:cNvPr id="72" name="TextBox 41">
              <a:extLst>
                <a:ext uri="{FF2B5EF4-FFF2-40B4-BE49-F238E27FC236}">
                  <a16:creationId xmlns:a16="http://schemas.microsoft.com/office/drawing/2014/main" id="{B733B91A-E5FE-30D7-D4AF-32F7151B95BB}"/>
                </a:ext>
              </a:extLst>
            </p:cNvPr>
            <p:cNvSpPr txBox="1"/>
            <p:nvPr/>
          </p:nvSpPr>
          <p:spPr>
            <a:xfrm>
              <a:off x="5338447" y="2983690"/>
              <a:ext cx="1549719" cy="58477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Draft an email to [name] that informs them that Project X is delayed two weeks. Make it short and casual in tone. </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73" name="Graphic 42">
              <a:extLst>
                <a:ext uri="{FF2B5EF4-FFF2-40B4-BE49-F238E27FC236}">
                  <a16:creationId xmlns:a16="http://schemas.microsoft.com/office/drawing/2014/main" id="{17E96F4E-BD69-280D-2CB5-60538CD190B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211221" y="3013311"/>
              <a:ext cx="163426" cy="163426"/>
            </a:xfrm>
            <a:prstGeom prst="rect">
              <a:avLst/>
            </a:prstGeom>
          </p:spPr>
        </p:pic>
        <p:pic>
          <p:nvPicPr>
            <p:cNvPr id="74" name="Picture 73" descr="A blue square with a letter o&#10;&#10;Description automatically generated">
              <a:extLst>
                <a:ext uri="{FF2B5EF4-FFF2-40B4-BE49-F238E27FC236}">
                  <a16:creationId xmlns:a16="http://schemas.microsoft.com/office/drawing/2014/main" id="{C0780738-3B05-1363-6CA6-4DEA4D8AAF9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249116" y="1619990"/>
              <a:ext cx="301524" cy="280446"/>
            </a:xfrm>
            <a:prstGeom prst="rect">
              <a:avLst/>
            </a:prstGeom>
          </p:spPr>
        </p:pic>
      </p:grpSp>
      <p:grpSp>
        <p:nvGrpSpPr>
          <p:cNvPr id="53" name="Group 52">
            <a:extLst>
              <a:ext uri="{FF2B5EF4-FFF2-40B4-BE49-F238E27FC236}">
                <a16:creationId xmlns:a16="http://schemas.microsoft.com/office/drawing/2014/main" id="{73B59520-EF5F-C37E-4313-0620F4FA27A4}"/>
              </a:ext>
            </a:extLst>
          </p:cNvPr>
          <p:cNvGrpSpPr/>
          <p:nvPr/>
        </p:nvGrpSpPr>
        <p:grpSpPr>
          <a:xfrm>
            <a:off x="7288413" y="3809424"/>
            <a:ext cx="2153223" cy="2221428"/>
            <a:chOff x="7288413" y="3809424"/>
            <a:chExt cx="2153223" cy="2221428"/>
          </a:xfrm>
        </p:grpSpPr>
        <p:sp>
          <p:nvSpPr>
            <p:cNvPr id="63" name="Rounded Rectangle 1">
              <a:extLst>
                <a:ext uri="{FF2B5EF4-FFF2-40B4-BE49-F238E27FC236}">
                  <a16:creationId xmlns:a16="http://schemas.microsoft.com/office/drawing/2014/main" id="{A6C2A085-1AC7-F7A7-E478-F9DA2B990470}"/>
                </a:ext>
                <a:ext uri="{C183D7F6-B498-43B3-948B-1728B52AA6E4}">
                  <adec:decorative xmlns:adec="http://schemas.microsoft.com/office/drawing/2017/decorative" val="1"/>
                </a:ext>
              </a:extLst>
            </p:cNvPr>
            <p:cNvSpPr/>
            <p:nvPr/>
          </p:nvSpPr>
          <p:spPr bwMode="auto">
            <a:xfrm>
              <a:off x="7288413" y="3809424"/>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64" name="TextBox 73">
              <a:extLst>
                <a:ext uri="{FF2B5EF4-FFF2-40B4-BE49-F238E27FC236}">
                  <a16:creationId xmlns:a16="http://schemas.microsoft.com/office/drawing/2014/main" id="{DC7859A8-E639-AE86-5C20-CD525CE847A3}"/>
                </a:ext>
              </a:extLst>
            </p:cNvPr>
            <p:cNvSpPr txBox="1"/>
            <p:nvPr/>
          </p:nvSpPr>
          <p:spPr>
            <a:xfrm>
              <a:off x="7409333" y="4303478"/>
              <a:ext cx="1742685" cy="66684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How do I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a:t>
              </a:r>
              <a:r>
                <a:rPr kumimoji="0" lang="en-US" sz="1000" b="0" i="0" u="none" strike="noStrike" kern="1200" cap="none" spc="0" normalizeH="0" baseline="0" noProof="0">
                  <a:ln>
                    <a:noFill/>
                  </a:ln>
                  <a:solidFill>
                    <a:srgbClr val="000000"/>
                  </a:solidFill>
                  <a:effectLst/>
                  <a:uLnTx/>
                  <a:uFillTx/>
                  <a:latin typeface="Segoe UI"/>
                  <a:ea typeface="+mn-ea"/>
                  <a:cs typeface="+mn-cs"/>
                </a:rPr>
                <a:t>let Copilot help you build or fix formulas in Excel</a:t>
              </a:r>
              <a:r>
                <a:rPr kumimoji="0" lang="en-US" sz="1000" b="0" i="0" u="none" strike="noStrike" kern="1200" cap="none" spc="0" normalizeH="0" baseline="0" noProof="0">
                  <a:ln>
                    <a:noFill/>
                  </a:ln>
                  <a:solidFill>
                    <a:prstClr val="black"/>
                  </a:solidFill>
                  <a:effectLst/>
                  <a:uLnTx/>
                  <a:uFillTx/>
                  <a:latin typeface="Segoe UI"/>
                  <a:ea typeface="+mn-ea"/>
                  <a:cs typeface="+mn-cs"/>
                </a:rPr>
                <a:t>.</a:t>
              </a:r>
            </a:p>
          </p:txBody>
        </p:sp>
        <p:sp>
          <p:nvSpPr>
            <p:cNvPr id="65" name="TextBox 10">
              <a:extLst>
                <a:ext uri="{FF2B5EF4-FFF2-40B4-BE49-F238E27FC236}">
                  <a16:creationId xmlns:a16="http://schemas.microsoft.com/office/drawing/2014/main" id="{C679F92A-A63B-8C92-5DE1-5CFA4E885555}"/>
                </a:ext>
              </a:extLst>
            </p:cNvPr>
            <p:cNvSpPr txBox="1"/>
            <p:nvPr/>
          </p:nvSpPr>
          <p:spPr>
            <a:xfrm>
              <a:off x="9050182" y="3809424"/>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9</a:t>
              </a:r>
            </a:p>
          </p:txBody>
        </p:sp>
        <p:sp>
          <p:nvSpPr>
            <p:cNvPr id="66" name="TextBox 64">
              <a:extLst>
                <a:ext uri="{FF2B5EF4-FFF2-40B4-BE49-F238E27FC236}">
                  <a16:creationId xmlns:a16="http://schemas.microsoft.com/office/drawing/2014/main" id="{64255297-57D1-7547-0902-3084582632E3}"/>
                </a:ext>
              </a:extLst>
            </p:cNvPr>
            <p:cNvSpPr txBox="1"/>
            <p:nvPr/>
          </p:nvSpPr>
          <p:spPr>
            <a:xfrm>
              <a:off x="7602299" y="5531704"/>
              <a:ext cx="1549719" cy="33855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How do I sum values that are greater than 0?</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67" name="Graphic 66">
              <a:extLst>
                <a:ext uri="{FF2B5EF4-FFF2-40B4-BE49-F238E27FC236}">
                  <a16:creationId xmlns:a16="http://schemas.microsoft.com/office/drawing/2014/main" id="{0FA4F0F9-65F6-3F0A-9FC6-62BD9D138C5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475073" y="5561325"/>
              <a:ext cx="163426" cy="163426"/>
            </a:xfrm>
            <a:prstGeom prst="rect">
              <a:avLst/>
            </a:prstGeom>
          </p:spPr>
        </p:pic>
      </p:grpSp>
      <p:sp>
        <p:nvSpPr>
          <p:cNvPr id="54" name="TextBox 108">
            <a:extLst>
              <a:ext uri="{FF2B5EF4-FFF2-40B4-BE49-F238E27FC236}">
                <a16:creationId xmlns:a16="http://schemas.microsoft.com/office/drawing/2014/main" id="{C507FB5A-E697-FD95-BEA0-4F363564A701}"/>
              </a:ext>
            </a:extLst>
          </p:cNvPr>
          <p:cNvSpPr txBox="1"/>
          <p:nvPr/>
        </p:nvSpPr>
        <p:spPr>
          <a:xfrm>
            <a:off x="2148800" y="6254847"/>
            <a:ext cx="7894400" cy="36689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800" b="1" i="0" u="none" strike="noStrike" kern="100" cap="none" spc="0" normalizeH="0" baseline="0" noProof="0">
                <a:ln>
                  <a:noFill/>
                </a:ln>
                <a:solidFill>
                  <a:srgbClr val="000000"/>
                </a:solidFill>
                <a:effectLst/>
                <a:uLnTx/>
                <a:uFillTx/>
                <a:latin typeface="Segoe UI Semibold" panose="020B0502040204020203" pitchFamily="34" charset="0"/>
                <a:ea typeface="Aptos" panose="020B0004020202020204" pitchFamily="34" charset="0"/>
                <a:cs typeface="Segoe UI Semibold" panose="020B0502040204020203" pitchFamily="34" charset="0"/>
              </a:rPr>
              <a:t> For more prompts, visit Prompt Gallery at: </a:t>
            </a:r>
            <a:r>
              <a:rPr kumimoji="0" lang="en-US" sz="1800" b="1" i="0" u="none" strike="noStrike" kern="100" cap="none" spc="0" normalizeH="0" baseline="0" noProof="0">
                <a:ln>
                  <a:noFill/>
                </a:ln>
                <a:solidFill>
                  <a:srgbClr val="8661C5"/>
                </a:solidFill>
                <a:effectLst/>
                <a:uLnTx/>
                <a:uFillTx/>
                <a:latin typeface="Segoe UI Semibold" panose="020B0502040204020203" pitchFamily="34" charset="0"/>
                <a:ea typeface="Aptos" panose="020B0004020202020204" pitchFamily="34" charset="0"/>
                <a:cs typeface="Segoe UI Semibold" panose="020B0502040204020203" pitchFamily="34" charset="0"/>
                <a:hlinkClick r:id="rId7"/>
              </a:rPr>
              <a:t>aka.ms/prompts</a:t>
            </a:r>
            <a:endParaRPr kumimoji="0" lang="en-US" sz="1800" b="1" i="0" u="none" strike="noStrike" kern="100" cap="none" spc="0" normalizeH="0" baseline="0" noProof="0">
              <a:ln>
                <a:noFill/>
              </a:ln>
              <a:solidFill>
                <a:srgbClr val="8661C5"/>
              </a:solidFill>
              <a:effectLst/>
              <a:uLnTx/>
              <a:uFillTx/>
              <a:latin typeface="Segoe UI Semibold" panose="020B0502040204020203" pitchFamily="34" charset="0"/>
              <a:ea typeface="Aptos" panose="020B0004020202020204" pitchFamily="34" charset="0"/>
              <a:cs typeface="Segoe UI Semibold" panose="020B0502040204020203" pitchFamily="34" charset="0"/>
            </a:endParaRPr>
          </a:p>
        </p:txBody>
      </p:sp>
      <p:grpSp>
        <p:nvGrpSpPr>
          <p:cNvPr id="55" name="Group 54">
            <a:extLst>
              <a:ext uri="{FF2B5EF4-FFF2-40B4-BE49-F238E27FC236}">
                <a16:creationId xmlns:a16="http://schemas.microsoft.com/office/drawing/2014/main" id="{B1D9F39A-05D8-1E30-151B-79CD4E0A8BCF}"/>
              </a:ext>
              <a:ext uri="{C183D7F6-B498-43B3-948B-1728B52AA6E4}">
                <adec:decorative xmlns:adec="http://schemas.microsoft.com/office/drawing/2017/decorative" val="1"/>
              </a:ext>
            </a:extLst>
          </p:cNvPr>
          <p:cNvGrpSpPr/>
          <p:nvPr/>
        </p:nvGrpSpPr>
        <p:grpSpPr>
          <a:xfrm>
            <a:off x="2766319" y="3809424"/>
            <a:ext cx="2153223" cy="2221428"/>
            <a:chOff x="2766319" y="3809424"/>
            <a:chExt cx="2153223" cy="2221428"/>
          </a:xfrm>
        </p:grpSpPr>
        <p:grpSp>
          <p:nvGrpSpPr>
            <p:cNvPr id="56" name="Group 55">
              <a:extLst>
                <a:ext uri="{FF2B5EF4-FFF2-40B4-BE49-F238E27FC236}">
                  <a16:creationId xmlns:a16="http://schemas.microsoft.com/office/drawing/2014/main" id="{9F0FAEB7-F0E8-2EA7-416F-5503AA31B3C1}"/>
                </a:ext>
              </a:extLst>
            </p:cNvPr>
            <p:cNvGrpSpPr/>
            <p:nvPr/>
          </p:nvGrpSpPr>
          <p:grpSpPr>
            <a:xfrm>
              <a:off x="2766319" y="3809424"/>
              <a:ext cx="2153223" cy="2221428"/>
              <a:chOff x="2766319" y="3809424"/>
              <a:chExt cx="2153223" cy="2221428"/>
            </a:xfrm>
          </p:grpSpPr>
          <p:sp>
            <p:nvSpPr>
              <p:cNvPr id="58" name="Rounded Rectangle 1">
                <a:extLst>
                  <a:ext uri="{FF2B5EF4-FFF2-40B4-BE49-F238E27FC236}">
                    <a16:creationId xmlns:a16="http://schemas.microsoft.com/office/drawing/2014/main" id="{677A3F3F-3968-D627-AF99-67456FE7BF9F}"/>
                  </a:ext>
                  <a:ext uri="{C183D7F6-B498-43B3-948B-1728B52AA6E4}">
                    <adec:decorative xmlns:adec="http://schemas.microsoft.com/office/drawing/2017/decorative" val="1"/>
                  </a:ext>
                </a:extLst>
              </p:cNvPr>
              <p:cNvSpPr/>
              <p:nvPr/>
            </p:nvSpPr>
            <p:spPr bwMode="auto">
              <a:xfrm>
                <a:off x="2766319" y="3809424"/>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59" name="TextBox 65">
                <a:extLst>
                  <a:ext uri="{FF2B5EF4-FFF2-40B4-BE49-F238E27FC236}">
                    <a16:creationId xmlns:a16="http://schemas.microsoft.com/office/drawing/2014/main" id="{3B34582A-3E0F-43B3-D808-D1A043F9CF77}"/>
                  </a:ext>
                </a:extLst>
              </p:cNvPr>
              <p:cNvSpPr txBox="1"/>
              <p:nvPr/>
            </p:nvSpPr>
            <p:spPr>
              <a:xfrm>
                <a:off x="2887238" y="4303478"/>
                <a:ext cx="1972597" cy="82073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Help me write …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jumpstart creativity and write and edit like a pro by getting a first draft in seconds.</a:t>
                </a:r>
              </a:p>
            </p:txBody>
          </p:sp>
          <p:sp>
            <p:nvSpPr>
              <p:cNvPr id="60" name="TextBox 8">
                <a:extLst>
                  <a:ext uri="{FF2B5EF4-FFF2-40B4-BE49-F238E27FC236}">
                    <a16:creationId xmlns:a16="http://schemas.microsoft.com/office/drawing/2014/main" id="{AA0E9C18-63E2-F1DA-4A62-D99F2643D73B}"/>
                  </a:ext>
                </a:extLst>
              </p:cNvPr>
              <p:cNvSpPr txBox="1"/>
              <p:nvPr/>
            </p:nvSpPr>
            <p:spPr>
              <a:xfrm>
                <a:off x="4528088" y="3809424"/>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7</a:t>
                </a:r>
              </a:p>
            </p:txBody>
          </p:sp>
          <p:sp>
            <p:nvSpPr>
              <p:cNvPr id="61" name="TextBox 56">
                <a:extLst>
                  <a:ext uri="{FF2B5EF4-FFF2-40B4-BE49-F238E27FC236}">
                    <a16:creationId xmlns:a16="http://schemas.microsoft.com/office/drawing/2014/main" id="{3D2521F0-E585-E507-1023-BDD1C7235CE7}"/>
                  </a:ext>
                </a:extLst>
              </p:cNvPr>
              <p:cNvSpPr txBox="1"/>
              <p:nvPr/>
            </p:nvSpPr>
            <p:spPr>
              <a:xfrm>
                <a:off x="3085792" y="5531704"/>
                <a:ext cx="1149873" cy="33855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Generate three ways to say [x] </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62" name="Graphic 58">
                <a:extLst>
                  <a:ext uri="{FF2B5EF4-FFF2-40B4-BE49-F238E27FC236}">
                    <a16:creationId xmlns:a16="http://schemas.microsoft.com/office/drawing/2014/main" id="{497A663F-407A-B4F4-FCFE-D64D1DDD0BB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58566" y="5561325"/>
                <a:ext cx="163426" cy="163426"/>
              </a:xfrm>
              <a:prstGeom prst="rect">
                <a:avLst/>
              </a:prstGeom>
            </p:spPr>
          </p:pic>
        </p:grpSp>
        <p:pic>
          <p:nvPicPr>
            <p:cNvPr id="57" name="Picture 56" descr="A blue square with white letter on it&#10;&#10;Description automatically generated">
              <a:extLst>
                <a:ext uri="{FF2B5EF4-FFF2-40B4-BE49-F238E27FC236}">
                  <a16:creationId xmlns:a16="http://schemas.microsoft.com/office/drawing/2014/main" id="{33884DBE-C957-747C-63D1-637816C93E9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960920" y="3990160"/>
              <a:ext cx="301525" cy="280584"/>
            </a:xfrm>
            <a:prstGeom prst="rect">
              <a:avLst/>
            </a:prstGeom>
          </p:spPr>
        </p:pic>
      </p:grpSp>
      <p:pic>
        <p:nvPicPr>
          <p:cNvPr id="6" name="Picture 5">
            <a:extLst>
              <a:ext uri="{FF2B5EF4-FFF2-40B4-BE49-F238E27FC236}">
                <a16:creationId xmlns:a16="http://schemas.microsoft.com/office/drawing/2014/main" id="{97B92FCF-17C1-1AA2-13E4-48343ECA5AE0}"/>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Lst>
          </a:blip>
          <a:srcRect l="16065" t="16861" r="12585" b="22031"/>
          <a:stretch/>
        </p:blipFill>
        <p:spPr>
          <a:xfrm>
            <a:off x="7455514" y="3966800"/>
            <a:ext cx="391454" cy="335268"/>
          </a:xfrm>
          <a:prstGeom prst="ellipse">
            <a:avLst/>
          </a:prstGeom>
          <a:solidFill>
            <a:schemeClr val="bg1"/>
          </a:solidFill>
        </p:spPr>
      </p:pic>
    </p:spTree>
    <p:extLst>
      <p:ext uri="{BB962C8B-B14F-4D97-AF65-F5344CB8AC3E}">
        <p14:creationId xmlns:p14="http://schemas.microsoft.com/office/powerpoint/2010/main" val="272126198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 name="Text Placeholder 234">
            <a:extLst>
              <a:ext uri="{FF2B5EF4-FFF2-40B4-BE49-F238E27FC236}">
                <a16:creationId xmlns:a16="http://schemas.microsoft.com/office/drawing/2014/main" id="{91ECB154-86BB-A58D-CEEE-D6F8B71D8211}"/>
              </a:ext>
            </a:extLst>
          </p:cNvPr>
          <p:cNvSpPr>
            <a:spLocks noGrp="1"/>
          </p:cNvSpPr>
          <p:nvPr>
            <p:ph type="body" sz="quarter" idx="32"/>
          </p:nvPr>
        </p:nvSpPr>
        <p:spPr/>
        <p:txBody>
          <a:bodyPr/>
          <a:lstStyle/>
          <a:p>
            <a:r>
              <a:rPr lang="en-US" noProof="0" dirty="0"/>
              <a:t>Use AI to assist with market analysis and product selection when selecting new products to sell.</a:t>
            </a:r>
          </a:p>
        </p:txBody>
      </p:sp>
      <p:sp>
        <p:nvSpPr>
          <p:cNvPr id="75" name="Text Placeholder 74">
            <a:extLst>
              <a:ext uri="{FF2B5EF4-FFF2-40B4-BE49-F238E27FC236}">
                <a16:creationId xmlns:a16="http://schemas.microsoft.com/office/drawing/2014/main" id="{46166F63-4E3F-25A3-7D72-CACAF95B3731}"/>
              </a:ext>
            </a:extLst>
          </p:cNvPr>
          <p:cNvSpPr>
            <a:spLocks noGrp="1"/>
          </p:cNvSpPr>
          <p:nvPr>
            <p:ph type="body" sz="quarter" idx="33"/>
          </p:nvPr>
        </p:nvSpPr>
        <p:spPr/>
        <p:txBody>
          <a:bodyPr/>
          <a:lstStyle/>
          <a:p>
            <a:r>
              <a:rPr lang="en-IN"/>
              <a:t>Retail</a:t>
            </a:r>
          </a:p>
        </p:txBody>
      </p:sp>
      <p:sp>
        <p:nvSpPr>
          <p:cNvPr id="73" name="Text Placeholder 72">
            <a:extLst>
              <a:ext uri="{FF2B5EF4-FFF2-40B4-BE49-F238E27FC236}">
                <a16:creationId xmlns:a16="http://schemas.microsoft.com/office/drawing/2014/main" id="{3CEB6EE7-D481-C2C2-CA13-6C7FB9F15196}"/>
              </a:ext>
            </a:extLst>
          </p:cNvPr>
          <p:cNvSpPr>
            <a:spLocks noGrp="1"/>
          </p:cNvSpPr>
          <p:nvPr>
            <p:ph type="body" sz="quarter" idx="30"/>
          </p:nvPr>
        </p:nvSpPr>
        <p:spPr/>
        <p:txBody>
          <a:bodyPr/>
          <a:lstStyle/>
          <a:p>
            <a:r>
              <a:rPr lang="en-US" noProof="0"/>
              <a:t>Build</a:t>
            </a:r>
          </a:p>
        </p:txBody>
      </p:sp>
      <p:sp>
        <p:nvSpPr>
          <p:cNvPr id="71" name="Text Placeholder 70">
            <a:extLst>
              <a:ext uri="{FF2B5EF4-FFF2-40B4-BE49-F238E27FC236}">
                <a16:creationId xmlns:a16="http://schemas.microsoft.com/office/drawing/2014/main" id="{ED7B687F-9DFF-8268-B906-9AA380350916}"/>
              </a:ext>
            </a:extLst>
          </p:cNvPr>
          <p:cNvSpPr>
            <a:spLocks noGrp="1"/>
          </p:cNvSpPr>
          <p:nvPr>
            <p:ph type="body" sz="quarter" idx="17"/>
          </p:nvPr>
        </p:nvSpPr>
        <p:spPr/>
        <p:txBody>
          <a:bodyPr/>
          <a:lstStyle/>
          <a:p>
            <a:r>
              <a:rPr lang="en-US" noProof="0"/>
              <a:t>Microsoft 365 Copilot and Copilot Studio</a:t>
            </a:r>
          </a:p>
        </p:txBody>
      </p:sp>
      <p:sp>
        <p:nvSpPr>
          <p:cNvPr id="69" name="Title 68">
            <a:extLst>
              <a:ext uri="{FF2B5EF4-FFF2-40B4-BE49-F238E27FC236}">
                <a16:creationId xmlns:a16="http://schemas.microsoft.com/office/drawing/2014/main" id="{F7813E63-B29A-E5C3-7CA8-FAAE53BF9996}"/>
              </a:ext>
            </a:extLst>
          </p:cNvPr>
          <p:cNvSpPr>
            <a:spLocks noGrp="1"/>
          </p:cNvSpPr>
          <p:nvPr>
            <p:ph type="title"/>
          </p:nvPr>
        </p:nvSpPr>
        <p:spPr/>
        <p:txBody>
          <a:bodyPr/>
          <a:lstStyle/>
          <a:p>
            <a:r>
              <a:rPr lang="en-IN" dirty="0"/>
              <a:t>Improve merchandising decisions</a:t>
            </a:r>
          </a:p>
        </p:txBody>
      </p:sp>
      <p:sp>
        <p:nvSpPr>
          <p:cNvPr id="100" name="Text Placeholder 99">
            <a:extLst>
              <a:ext uri="{FF2B5EF4-FFF2-40B4-BE49-F238E27FC236}">
                <a16:creationId xmlns:a16="http://schemas.microsoft.com/office/drawing/2014/main" id="{21159505-E86D-4FDD-35D7-5128C25C2CD7}"/>
              </a:ext>
            </a:extLst>
          </p:cNvPr>
          <p:cNvSpPr>
            <a:spLocks noGrp="1"/>
          </p:cNvSpPr>
          <p:nvPr>
            <p:ph type="body" sz="quarter" idx="69"/>
          </p:nvPr>
        </p:nvSpPr>
        <p:spPr/>
        <p:txBody>
          <a:bodyPr/>
          <a:lstStyle/>
          <a:p>
            <a:r>
              <a:rPr lang="en-US" noProof="0" dirty="0"/>
              <a:t>Example prompt: Generate a table showing moderate sportswear sales by location for Q4 of last year, sorted by year-over-year (YoY) change. Include a current season-to-date column with YoY change.</a:t>
            </a:r>
          </a:p>
        </p:txBody>
      </p:sp>
      <p:sp>
        <p:nvSpPr>
          <p:cNvPr id="70" name="Text Placeholder 69">
            <a:extLst>
              <a:ext uri="{FF2B5EF4-FFF2-40B4-BE49-F238E27FC236}">
                <a16:creationId xmlns:a16="http://schemas.microsoft.com/office/drawing/2014/main" id="{6588769D-9BF3-526C-5DF1-B68FCCDAB568}"/>
              </a:ext>
            </a:extLst>
          </p:cNvPr>
          <p:cNvSpPr>
            <a:spLocks noGrp="1"/>
          </p:cNvSpPr>
          <p:nvPr>
            <p:ph type="body" sz="quarter" idx="11"/>
          </p:nvPr>
        </p:nvSpPr>
        <p:spPr/>
        <p:txBody>
          <a:bodyPr/>
          <a:lstStyle/>
          <a:p>
            <a:r>
              <a:rPr lang="en-US" noProof="0"/>
              <a:t>Define sales targets</a:t>
            </a:r>
          </a:p>
        </p:txBody>
      </p:sp>
      <p:sp>
        <p:nvSpPr>
          <p:cNvPr id="72" name="Text Placeholder 71">
            <a:extLst>
              <a:ext uri="{FF2B5EF4-FFF2-40B4-BE49-F238E27FC236}">
                <a16:creationId xmlns:a16="http://schemas.microsoft.com/office/drawing/2014/main" id="{2C1B292A-FA13-DF74-860B-D4D2B1A34E69}"/>
              </a:ext>
            </a:extLst>
          </p:cNvPr>
          <p:cNvSpPr>
            <a:spLocks noGrp="1"/>
          </p:cNvSpPr>
          <p:nvPr>
            <p:ph type="body" sz="quarter" idx="18"/>
          </p:nvPr>
        </p:nvSpPr>
        <p:spPr/>
        <p:txBody>
          <a:bodyPr/>
          <a:lstStyle/>
          <a:p>
            <a:r>
              <a:rPr lang="en-US" noProof="0"/>
              <a:t>Define topside sales targets based on historical data, market trends, and business goals. Use a Copilot agent to access data in the Sales database.</a:t>
            </a:r>
          </a:p>
          <a:p>
            <a:endParaRPr lang="en-US" noProof="0"/>
          </a:p>
        </p:txBody>
      </p:sp>
      <p:sp>
        <p:nvSpPr>
          <p:cNvPr id="77" name="Text Placeholder 76">
            <a:extLst>
              <a:ext uri="{FF2B5EF4-FFF2-40B4-BE49-F238E27FC236}">
                <a16:creationId xmlns:a16="http://schemas.microsoft.com/office/drawing/2014/main" id="{298C9A5E-17C3-6DC2-57F4-99A519FB03C6}"/>
              </a:ext>
            </a:extLst>
          </p:cNvPr>
          <p:cNvSpPr>
            <a:spLocks noGrp="1"/>
          </p:cNvSpPr>
          <p:nvPr>
            <p:ph type="body" sz="quarter" idx="42"/>
          </p:nvPr>
        </p:nvSpPr>
        <p:spPr/>
        <p:txBody>
          <a:bodyPr/>
          <a:lstStyle/>
          <a:p>
            <a:r>
              <a:rPr lang="en-US" noProof="0"/>
              <a:t>Conduct market research</a:t>
            </a:r>
          </a:p>
        </p:txBody>
      </p:sp>
      <p:sp>
        <p:nvSpPr>
          <p:cNvPr id="79" name="Text Placeholder 78">
            <a:extLst>
              <a:ext uri="{FF2B5EF4-FFF2-40B4-BE49-F238E27FC236}">
                <a16:creationId xmlns:a16="http://schemas.microsoft.com/office/drawing/2014/main" id="{2A137A82-4414-4BCE-C1EB-4DF7A10A3305}"/>
              </a:ext>
            </a:extLst>
          </p:cNvPr>
          <p:cNvSpPr>
            <a:spLocks noGrp="1"/>
          </p:cNvSpPr>
          <p:nvPr>
            <p:ph type="body" sz="quarter" idx="43"/>
          </p:nvPr>
        </p:nvSpPr>
        <p:spPr/>
        <p:txBody>
          <a:bodyPr/>
          <a:lstStyle/>
          <a:p>
            <a:r>
              <a:rPr lang="en-US" noProof="0"/>
              <a:t>Research consumer demographics and spending trends by geography.</a:t>
            </a:r>
          </a:p>
          <a:p>
            <a:endParaRPr lang="en-US" noProof="0"/>
          </a:p>
        </p:txBody>
      </p:sp>
      <p:sp>
        <p:nvSpPr>
          <p:cNvPr id="91" name="Text Placeholder 90">
            <a:extLst>
              <a:ext uri="{FF2B5EF4-FFF2-40B4-BE49-F238E27FC236}">
                <a16:creationId xmlns:a16="http://schemas.microsoft.com/office/drawing/2014/main" id="{D94605FB-35F4-A46E-AA1D-FC06FF99FD59}"/>
              </a:ext>
            </a:extLst>
          </p:cNvPr>
          <p:cNvSpPr>
            <a:spLocks noGrp="1"/>
          </p:cNvSpPr>
          <p:nvPr>
            <p:ph type="body" sz="quarter" idx="68"/>
          </p:nvPr>
        </p:nvSpPr>
        <p:spPr/>
        <p:txBody>
          <a:bodyPr/>
          <a:lstStyle/>
          <a:p>
            <a:r>
              <a:rPr lang="en-US" noProof="0"/>
              <a:t>Example prompt: Create a custom view in a Power BI dashboard to visualize data on seasonal apparel trends.</a:t>
            </a:r>
          </a:p>
        </p:txBody>
      </p:sp>
      <p:sp>
        <p:nvSpPr>
          <p:cNvPr id="81" name="Text Placeholder 80">
            <a:extLst>
              <a:ext uri="{FF2B5EF4-FFF2-40B4-BE49-F238E27FC236}">
                <a16:creationId xmlns:a16="http://schemas.microsoft.com/office/drawing/2014/main" id="{92210F16-0CCB-BD45-127A-5D21C094E166}"/>
              </a:ext>
            </a:extLst>
          </p:cNvPr>
          <p:cNvSpPr>
            <a:spLocks noGrp="1"/>
          </p:cNvSpPr>
          <p:nvPr>
            <p:ph type="body" sz="quarter" idx="45"/>
          </p:nvPr>
        </p:nvSpPr>
        <p:spPr/>
        <p:txBody>
          <a:bodyPr/>
          <a:lstStyle/>
          <a:p>
            <a:r>
              <a:rPr lang="en-US" noProof="0"/>
              <a:t>Create a dashboard</a:t>
            </a:r>
          </a:p>
        </p:txBody>
      </p:sp>
      <p:sp>
        <p:nvSpPr>
          <p:cNvPr id="82" name="Text Placeholder 81">
            <a:extLst>
              <a:ext uri="{FF2B5EF4-FFF2-40B4-BE49-F238E27FC236}">
                <a16:creationId xmlns:a16="http://schemas.microsoft.com/office/drawing/2014/main" id="{20CABAA1-96C2-101F-C333-EAD483B64395}"/>
              </a:ext>
            </a:extLst>
          </p:cNvPr>
          <p:cNvSpPr>
            <a:spLocks noGrp="1"/>
          </p:cNvSpPr>
          <p:nvPr>
            <p:ph type="body" sz="quarter" idx="46"/>
          </p:nvPr>
        </p:nvSpPr>
        <p:spPr/>
        <p:txBody>
          <a:bodyPr/>
          <a:lstStyle/>
          <a:p>
            <a:r>
              <a:rPr lang="en-US" noProof="0"/>
              <a:t>Visualize sales trends to help make purchasing decisions.</a:t>
            </a:r>
          </a:p>
          <a:p>
            <a:endParaRPr lang="en-US" noProof="0"/>
          </a:p>
        </p:txBody>
      </p:sp>
      <p:sp>
        <p:nvSpPr>
          <p:cNvPr id="103" name="Text Placeholder 102">
            <a:extLst>
              <a:ext uri="{FF2B5EF4-FFF2-40B4-BE49-F238E27FC236}">
                <a16:creationId xmlns:a16="http://schemas.microsoft.com/office/drawing/2014/main" id="{F7641C43-E74B-4B7F-F556-2E0A61A3DE73}"/>
              </a:ext>
            </a:extLst>
          </p:cNvPr>
          <p:cNvSpPr>
            <a:spLocks noGrp="1"/>
          </p:cNvSpPr>
          <p:nvPr>
            <p:ph type="body" sz="quarter" idx="70"/>
          </p:nvPr>
        </p:nvSpPr>
        <p:spPr/>
        <p:txBody>
          <a:bodyPr/>
          <a:lstStyle/>
          <a:p>
            <a:r>
              <a:rPr lang="en-US" noProof="0"/>
              <a:t>Example prompt: What are the current blouse style trends in the greater London area, and which demographic is influencing these trends? Which retailers are carrying the most trend-right blouse items?</a:t>
            </a:r>
          </a:p>
        </p:txBody>
      </p:sp>
      <p:sp>
        <p:nvSpPr>
          <p:cNvPr id="92" name="Text Placeholder 91">
            <a:extLst>
              <a:ext uri="{FF2B5EF4-FFF2-40B4-BE49-F238E27FC236}">
                <a16:creationId xmlns:a16="http://schemas.microsoft.com/office/drawing/2014/main" id="{4EB168B1-7DB8-80DC-F038-987E1FBFB08A}"/>
              </a:ext>
            </a:extLst>
          </p:cNvPr>
          <p:cNvSpPr>
            <a:spLocks noGrp="1"/>
          </p:cNvSpPr>
          <p:nvPr>
            <p:ph type="body" sz="quarter" idx="48"/>
          </p:nvPr>
        </p:nvSpPr>
        <p:spPr/>
        <p:txBody>
          <a:bodyPr/>
          <a:lstStyle/>
          <a:p>
            <a:r>
              <a:rPr lang="en-US" noProof="0"/>
              <a:t>Example prompt: Provide the MAP pricing terms that our vendor, Contoso, agreed to for Q4 products last year. Compare these terms with what we negotiated for this year in a table format.</a:t>
            </a:r>
          </a:p>
        </p:txBody>
      </p:sp>
      <p:sp>
        <p:nvSpPr>
          <p:cNvPr id="93" name="Text Placeholder 92">
            <a:extLst>
              <a:ext uri="{FF2B5EF4-FFF2-40B4-BE49-F238E27FC236}">
                <a16:creationId xmlns:a16="http://schemas.microsoft.com/office/drawing/2014/main" id="{BADF6E7F-392C-2FD5-B293-8BF13E643A62}"/>
              </a:ext>
            </a:extLst>
          </p:cNvPr>
          <p:cNvSpPr>
            <a:spLocks noGrp="1"/>
          </p:cNvSpPr>
          <p:nvPr>
            <p:ph type="body" sz="quarter" idx="49"/>
          </p:nvPr>
        </p:nvSpPr>
        <p:spPr/>
        <p:txBody>
          <a:bodyPr/>
          <a:lstStyle/>
          <a:p>
            <a:r>
              <a:rPr lang="en-US" noProof="0"/>
              <a:t>Complete supplier agreements</a:t>
            </a:r>
          </a:p>
        </p:txBody>
      </p:sp>
      <p:sp>
        <p:nvSpPr>
          <p:cNvPr id="94" name="Text Placeholder 93">
            <a:extLst>
              <a:ext uri="{FF2B5EF4-FFF2-40B4-BE49-F238E27FC236}">
                <a16:creationId xmlns:a16="http://schemas.microsoft.com/office/drawing/2014/main" id="{E7807E4B-542D-BD67-B1FC-BE819D177D59}"/>
              </a:ext>
            </a:extLst>
          </p:cNvPr>
          <p:cNvSpPr>
            <a:spLocks noGrp="1"/>
          </p:cNvSpPr>
          <p:nvPr>
            <p:ph type="body" sz="quarter" idx="50"/>
          </p:nvPr>
        </p:nvSpPr>
        <p:spPr/>
        <p:txBody>
          <a:bodyPr/>
          <a:lstStyle/>
          <a:p>
            <a:r>
              <a:rPr lang="en-US" noProof="0"/>
              <a:t>Negotiate contract terms including margin and MAP pricing agreements.</a:t>
            </a:r>
          </a:p>
          <a:p>
            <a:endParaRPr lang="en-US" noProof="0"/>
          </a:p>
        </p:txBody>
      </p:sp>
      <p:sp>
        <p:nvSpPr>
          <p:cNvPr id="95" name="Text Placeholder 94">
            <a:extLst>
              <a:ext uri="{FF2B5EF4-FFF2-40B4-BE49-F238E27FC236}">
                <a16:creationId xmlns:a16="http://schemas.microsoft.com/office/drawing/2014/main" id="{8916362C-0544-0930-ED8F-D4107E0DFD1A}"/>
              </a:ext>
            </a:extLst>
          </p:cNvPr>
          <p:cNvSpPr>
            <a:spLocks noGrp="1"/>
          </p:cNvSpPr>
          <p:nvPr>
            <p:ph type="body" sz="quarter" idx="51"/>
          </p:nvPr>
        </p:nvSpPr>
        <p:spPr/>
        <p:txBody>
          <a:bodyPr/>
          <a:lstStyle/>
          <a:p>
            <a:r>
              <a:rPr lang="en-US" noProof="0"/>
              <a:t>Update projects</a:t>
            </a:r>
          </a:p>
        </p:txBody>
      </p:sp>
      <p:sp>
        <p:nvSpPr>
          <p:cNvPr id="99" name="Text Placeholder 98">
            <a:extLst>
              <a:ext uri="{FF2B5EF4-FFF2-40B4-BE49-F238E27FC236}">
                <a16:creationId xmlns:a16="http://schemas.microsoft.com/office/drawing/2014/main" id="{24D0385E-2A8D-BDBD-3806-FE40ABC29663}"/>
              </a:ext>
            </a:extLst>
          </p:cNvPr>
          <p:cNvSpPr>
            <a:spLocks noGrp="1"/>
          </p:cNvSpPr>
          <p:nvPr>
            <p:ph type="body" sz="quarter" idx="52"/>
          </p:nvPr>
        </p:nvSpPr>
        <p:spPr/>
        <p:txBody>
          <a:bodyPr/>
          <a:lstStyle/>
          <a:p>
            <a:r>
              <a:rPr lang="en-US" noProof="0"/>
              <a:t>Using a Copilot Agent integrate the sales forecast into regional staffing level projections.</a:t>
            </a:r>
          </a:p>
          <a:p>
            <a:endParaRPr lang="en-US" noProof="0"/>
          </a:p>
        </p:txBody>
      </p:sp>
      <p:sp>
        <p:nvSpPr>
          <p:cNvPr id="76" name="Text Placeholder 75">
            <a:extLst>
              <a:ext uri="{FF2B5EF4-FFF2-40B4-BE49-F238E27FC236}">
                <a16:creationId xmlns:a16="http://schemas.microsoft.com/office/drawing/2014/main" id="{1CC6C38B-B175-D451-E840-698F6ED3E0F5}"/>
              </a:ext>
            </a:extLst>
          </p:cNvPr>
          <p:cNvSpPr>
            <a:spLocks noGrp="1"/>
          </p:cNvSpPr>
          <p:nvPr>
            <p:ph type="body" sz="quarter" idx="66"/>
          </p:nvPr>
        </p:nvSpPr>
        <p:spPr/>
        <p:txBody>
          <a:bodyPr/>
          <a:lstStyle/>
          <a:p>
            <a:r>
              <a:rPr lang="en-US" noProof="0"/>
              <a:t>Example prompt: Considering last year’s sales history and the current season-to-date performance, what is the optimal proportion of basic collared shirts versus fashion blouses for this year’s Q4 assortment?</a:t>
            </a:r>
          </a:p>
        </p:txBody>
      </p:sp>
      <p:sp>
        <p:nvSpPr>
          <p:cNvPr id="101" name="Text Placeholder 100">
            <a:extLst>
              <a:ext uri="{FF2B5EF4-FFF2-40B4-BE49-F238E27FC236}">
                <a16:creationId xmlns:a16="http://schemas.microsoft.com/office/drawing/2014/main" id="{52B69FC9-F742-B0E5-91A9-52F2C9D902ED}"/>
              </a:ext>
            </a:extLst>
          </p:cNvPr>
          <p:cNvSpPr>
            <a:spLocks noGrp="1"/>
          </p:cNvSpPr>
          <p:nvPr>
            <p:ph type="body" sz="quarter" idx="54"/>
          </p:nvPr>
        </p:nvSpPr>
        <p:spPr/>
        <p:txBody>
          <a:bodyPr/>
          <a:lstStyle/>
          <a:p>
            <a:r>
              <a:rPr lang="en-US" noProof="0"/>
              <a:t>Make product selections</a:t>
            </a:r>
          </a:p>
        </p:txBody>
      </p:sp>
      <p:sp>
        <p:nvSpPr>
          <p:cNvPr id="102" name="Text Placeholder 101">
            <a:extLst>
              <a:ext uri="{FF2B5EF4-FFF2-40B4-BE49-F238E27FC236}">
                <a16:creationId xmlns:a16="http://schemas.microsoft.com/office/drawing/2014/main" id="{EAF89656-AF57-EC3A-0A23-199AE84B3917}"/>
              </a:ext>
            </a:extLst>
          </p:cNvPr>
          <p:cNvSpPr>
            <a:spLocks noGrp="1"/>
          </p:cNvSpPr>
          <p:nvPr>
            <p:ph type="body" sz="quarter" idx="55"/>
          </p:nvPr>
        </p:nvSpPr>
        <p:spPr/>
        <p:txBody>
          <a:bodyPr/>
          <a:lstStyle/>
          <a:p>
            <a:r>
              <a:rPr lang="en-US" noProof="0"/>
              <a:t>Curate an assortment of products, including trending styles, seasonal items, and basic staples. Use a Copilot Agent to access data in the Sales database.</a:t>
            </a:r>
          </a:p>
        </p:txBody>
      </p:sp>
      <p:sp>
        <p:nvSpPr>
          <p:cNvPr id="80" name="Text Placeholder 79">
            <a:extLst>
              <a:ext uri="{FF2B5EF4-FFF2-40B4-BE49-F238E27FC236}">
                <a16:creationId xmlns:a16="http://schemas.microsoft.com/office/drawing/2014/main" id="{8D539306-5F84-CDBE-CF2C-FB4E0115DD5A}"/>
              </a:ext>
            </a:extLst>
          </p:cNvPr>
          <p:cNvSpPr>
            <a:spLocks noGrp="1"/>
          </p:cNvSpPr>
          <p:nvPr>
            <p:ph type="body" sz="quarter" idx="67"/>
          </p:nvPr>
        </p:nvSpPr>
        <p:spPr/>
        <p:txBody>
          <a:bodyPr/>
          <a:lstStyle/>
          <a:p>
            <a:r>
              <a:rPr lang="en-US" noProof="0"/>
              <a:t>Example prompt: Determine the differential in sales projections to current sales levels and apply that differential to staffing level projections.</a:t>
            </a:r>
          </a:p>
        </p:txBody>
      </p:sp>
      <p:sp>
        <p:nvSpPr>
          <p:cNvPr id="168" name="Text Placeholder 167">
            <a:extLst>
              <a:ext uri="{FF2B5EF4-FFF2-40B4-BE49-F238E27FC236}">
                <a16:creationId xmlns:a16="http://schemas.microsoft.com/office/drawing/2014/main" id="{97238DBB-0EBB-56C6-186F-6A3937EDA4FD}"/>
              </a:ext>
            </a:extLst>
          </p:cNvPr>
          <p:cNvSpPr>
            <a:spLocks noGrp="1"/>
          </p:cNvSpPr>
          <p:nvPr>
            <p:ph type="body" sz="quarter" idx="64"/>
          </p:nvPr>
        </p:nvSpPr>
        <p:spPr/>
        <p:txBody>
          <a:bodyPr/>
          <a:lstStyle/>
          <a:p>
            <a:r>
              <a:rPr lang="en-US" noProof="0"/>
              <a:t>Value benefit</a:t>
            </a:r>
          </a:p>
        </p:txBody>
      </p:sp>
      <p:sp>
        <p:nvSpPr>
          <p:cNvPr id="169" name="Text Placeholder 168">
            <a:extLst>
              <a:ext uri="{FF2B5EF4-FFF2-40B4-BE49-F238E27FC236}">
                <a16:creationId xmlns:a16="http://schemas.microsoft.com/office/drawing/2014/main" id="{A2DA9ADB-A99A-2C48-62E9-6D7093D28460}"/>
              </a:ext>
            </a:extLst>
          </p:cNvPr>
          <p:cNvSpPr>
            <a:spLocks noGrp="1"/>
          </p:cNvSpPr>
          <p:nvPr>
            <p:ph type="body" sz="quarter" idx="65"/>
          </p:nvPr>
        </p:nvSpPr>
        <p:spPr/>
        <p:txBody>
          <a:bodyPr/>
          <a:lstStyle/>
          <a:p>
            <a:r>
              <a:rPr lang="en-US" noProof="0"/>
              <a:t>KPIs impacted</a:t>
            </a:r>
          </a:p>
        </p:txBody>
      </p:sp>
      <p:grpSp>
        <p:nvGrpSpPr>
          <p:cNvPr id="172" name="Group 171">
            <a:extLst>
              <a:ext uri="{FF2B5EF4-FFF2-40B4-BE49-F238E27FC236}">
                <a16:creationId xmlns:a16="http://schemas.microsoft.com/office/drawing/2014/main" id="{EF20BB5D-950C-73C1-725F-B7A7F501F7B7}"/>
              </a:ext>
            </a:extLst>
          </p:cNvPr>
          <p:cNvGrpSpPr/>
          <p:nvPr/>
        </p:nvGrpSpPr>
        <p:grpSpPr>
          <a:xfrm>
            <a:off x="320719" y="5020658"/>
            <a:ext cx="1771605" cy="216000"/>
            <a:chOff x="320719" y="4224856"/>
            <a:chExt cx="1771605" cy="219456"/>
          </a:xfrm>
        </p:grpSpPr>
        <p:sp>
          <p:nvSpPr>
            <p:cNvPr id="173" name="Rectangle: Rounded Corners 6">
              <a:extLst>
                <a:ext uri="{FF2B5EF4-FFF2-40B4-BE49-F238E27FC236}">
                  <a16:creationId xmlns:a16="http://schemas.microsoft.com/office/drawing/2014/main" id="{94596F75-741A-7CA2-3008-216FDECA6493}"/>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74" name="Graphic 173">
              <a:extLst>
                <a:ext uri="{FF2B5EF4-FFF2-40B4-BE49-F238E27FC236}">
                  <a16:creationId xmlns:a16="http://schemas.microsoft.com/office/drawing/2014/main" id="{170DE01C-DDDA-8C8D-31DE-575E0A7CF83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7506" y="4260849"/>
              <a:ext cx="144000" cy="144000"/>
            </a:xfrm>
            <a:prstGeom prst="rect">
              <a:avLst/>
            </a:prstGeom>
          </p:spPr>
        </p:pic>
      </p:grpSp>
      <p:grpSp>
        <p:nvGrpSpPr>
          <p:cNvPr id="175" name="Group 174">
            <a:extLst>
              <a:ext uri="{FF2B5EF4-FFF2-40B4-BE49-F238E27FC236}">
                <a16:creationId xmlns:a16="http://schemas.microsoft.com/office/drawing/2014/main" id="{5E6CAB10-2BFA-0A82-99B8-8119E67FDC9D}"/>
              </a:ext>
            </a:extLst>
          </p:cNvPr>
          <p:cNvGrpSpPr/>
          <p:nvPr/>
        </p:nvGrpSpPr>
        <p:grpSpPr>
          <a:xfrm>
            <a:off x="320721" y="5309272"/>
            <a:ext cx="1771605" cy="216000"/>
            <a:chOff x="320721" y="4517211"/>
            <a:chExt cx="1771605" cy="216000"/>
          </a:xfrm>
        </p:grpSpPr>
        <p:sp>
          <p:nvSpPr>
            <p:cNvPr id="176" name="Rectangle: Rounded Corners 6">
              <a:extLst>
                <a:ext uri="{FF2B5EF4-FFF2-40B4-BE49-F238E27FC236}">
                  <a16:creationId xmlns:a16="http://schemas.microsoft.com/office/drawing/2014/main" id="{2389A4D7-9BAC-5A9B-190F-CCBA6BB6210F}"/>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Increase revenue</a:t>
              </a:r>
            </a:p>
          </p:txBody>
        </p:sp>
        <p:pic>
          <p:nvPicPr>
            <p:cNvPr id="177" name="Graphic 176">
              <a:extLst>
                <a:ext uri="{FF2B5EF4-FFF2-40B4-BE49-F238E27FC236}">
                  <a16:creationId xmlns:a16="http://schemas.microsoft.com/office/drawing/2014/main" id="{A505035C-8867-1F82-C3E4-91DA03ADA8F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7507" y="4552645"/>
              <a:ext cx="144000" cy="141732"/>
            </a:xfrm>
            <a:prstGeom prst="rect">
              <a:avLst/>
            </a:prstGeom>
          </p:spPr>
        </p:pic>
      </p:grpSp>
      <p:grpSp>
        <p:nvGrpSpPr>
          <p:cNvPr id="178" name="Group 177">
            <a:extLst>
              <a:ext uri="{FF2B5EF4-FFF2-40B4-BE49-F238E27FC236}">
                <a16:creationId xmlns:a16="http://schemas.microsoft.com/office/drawing/2014/main" id="{63A40D9F-CDAC-BC43-9BD7-7247884506FD}"/>
              </a:ext>
            </a:extLst>
          </p:cNvPr>
          <p:cNvGrpSpPr/>
          <p:nvPr/>
        </p:nvGrpSpPr>
        <p:grpSpPr>
          <a:xfrm>
            <a:off x="320719" y="3778836"/>
            <a:ext cx="1771605" cy="216000"/>
            <a:chOff x="320719" y="4224856"/>
            <a:chExt cx="1771605" cy="219456"/>
          </a:xfrm>
        </p:grpSpPr>
        <p:sp>
          <p:nvSpPr>
            <p:cNvPr id="179" name="Rectangle: Rounded Corners 6">
              <a:extLst>
                <a:ext uri="{FF2B5EF4-FFF2-40B4-BE49-F238E27FC236}">
                  <a16:creationId xmlns:a16="http://schemas.microsoft.com/office/drawing/2014/main" id="{9D30FB45-84A8-92D5-6110-ED07F55E25B7}"/>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180" name="Graphic 179">
              <a:extLst>
                <a:ext uri="{FF2B5EF4-FFF2-40B4-BE49-F238E27FC236}">
                  <a16:creationId xmlns:a16="http://schemas.microsoft.com/office/drawing/2014/main" id="{AB78B3FA-B87F-988D-73D6-86A3A9524E2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4260849"/>
              <a:ext cx="144000" cy="144000"/>
            </a:xfrm>
            <a:prstGeom prst="rect">
              <a:avLst/>
            </a:prstGeom>
          </p:spPr>
        </p:pic>
      </p:grpSp>
      <p:grpSp>
        <p:nvGrpSpPr>
          <p:cNvPr id="181" name="Group 180">
            <a:extLst>
              <a:ext uri="{FF2B5EF4-FFF2-40B4-BE49-F238E27FC236}">
                <a16:creationId xmlns:a16="http://schemas.microsoft.com/office/drawing/2014/main" id="{9418F58A-7E98-5EB8-A24E-BC7740BADCD9}"/>
              </a:ext>
            </a:extLst>
          </p:cNvPr>
          <p:cNvGrpSpPr/>
          <p:nvPr/>
        </p:nvGrpSpPr>
        <p:grpSpPr>
          <a:xfrm>
            <a:off x="320721" y="4067450"/>
            <a:ext cx="1771605" cy="216000"/>
            <a:chOff x="320721" y="4517211"/>
            <a:chExt cx="1771605" cy="216000"/>
          </a:xfrm>
        </p:grpSpPr>
        <p:sp>
          <p:nvSpPr>
            <p:cNvPr id="182" name="Rectangle: Rounded Corners 6">
              <a:extLst>
                <a:ext uri="{FF2B5EF4-FFF2-40B4-BE49-F238E27FC236}">
                  <a16:creationId xmlns:a16="http://schemas.microsoft.com/office/drawing/2014/main" id="{42379323-954D-D36B-B21C-A9BE75B97F4E}"/>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ustomer satisfaction</a:t>
              </a:r>
            </a:p>
          </p:txBody>
        </p:sp>
        <p:pic>
          <p:nvPicPr>
            <p:cNvPr id="183" name="Graphic 182">
              <a:extLst>
                <a:ext uri="{FF2B5EF4-FFF2-40B4-BE49-F238E27FC236}">
                  <a16:creationId xmlns:a16="http://schemas.microsoft.com/office/drawing/2014/main" id="{C87D3C2C-BBD2-01C8-3948-1D4A14979C0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7507" y="4552645"/>
              <a:ext cx="144000" cy="141732"/>
            </a:xfrm>
            <a:prstGeom prst="rect">
              <a:avLst/>
            </a:prstGeom>
          </p:spPr>
        </p:pic>
      </p:grpSp>
      <p:pic>
        <p:nvPicPr>
          <p:cNvPr id="29" name="Picture 28">
            <a:extLst>
              <a:ext uri="{FF2B5EF4-FFF2-40B4-BE49-F238E27FC236}">
                <a16:creationId xmlns:a16="http://schemas.microsoft.com/office/drawing/2014/main" id="{56DEAF83-EC3C-8A7D-A4ED-7780BC46DABC}"/>
              </a:ext>
              <a:ext uri="{C183D7F6-B498-43B3-948B-1728B52AA6E4}">
                <adec:decorative xmlns:adec="http://schemas.microsoft.com/office/drawing/2017/decorative" val="0"/>
              </a:ext>
            </a:extLst>
          </p:cNvPr>
          <p:cNvPicPr>
            <a:picLocks noChangeAspect="1"/>
          </p:cNvPicPr>
          <p:nvPr/>
        </p:nvPicPr>
        <p:blipFill rotWithShape="1">
          <a:blip r:embed="rId7"/>
          <a:srcRect b="3736"/>
          <a:stretch/>
        </p:blipFill>
        <p:spPr>
          <a:xfrm>
            <a:off x="3182938" y="2207040"/>
            <a:ext cx="224338" cy="215956"/>
          </a:xfrm>
          <a:prstGeom prst="rect">
            <a:avLst/>
          </a:prstGeom>
          <a:ln w="6657" cap="flat">
            <a:noFill/>
            <a:prstDash val="solid"/>
            <a:miter/>
          </a:ln>
          <a:effectLst/>
        </p:spPr>
      </p:pic>
      <p:sp>
        <p:nvSpPr>
          <p:cNvPr id="197" name="TextBox 196">
            <a:extLst>
              <a:ext uri="{FF2B5EF4-FFF2-40B4-BE49-F238E27FC236}">
                <a16:creationId xmlns:a16="http://schemas.microsoft.com/office/drawing/2014/main" id="{82730C03-C5A1-4B6E-F957-3893D6668209}"/>
              </a:ext>
              <a:ext uri="{C183D7F6-B498-43B3-948B-1728B52AA6E4}">
                <adec:decorative xmlns:adec="http://schemas.microsoft.com/office/drawing/2017/decorative" val="0"/>
              </a:ext>
            </a:extLst>
          </p:cNvPr>
          <p:cNvSpPr txBox="1"/>
          <p:nvPr/>
        </p:nvSpPr>
        <p:spPr>
          <a:xfrm>
            <a:off x="3567890" y="4913636"/>
            <a:ext cx="2209629" cy="69136"/>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Supply Chain system </a:t>
            </a:r>
          </a:p>
        </p:txBody>
      </p:sp>
      <p:pic>
        <p:nvPicPr>
          <p:cNvPr id="31" name="Picture 30">
            <a:extLst>
              <a:ext uri="{FF2B5EF4-FFF2-40B4-BE49-F238E27FC236}">
                <a16:creationId xmlns:a16="http://schemas.microsoft.com/office/drawing/2014/main" id="{0BAEA6DD-F2DD-09DB-B8CA-07D30E9B8D52}"/>
              </a:ext>
              <a:ext uri="{C183D7F6-B498-43B3-948B-1728B52AA6E4}">
                <adec:decorative xmlns:adec="http://schemas.microsoft.com/office/drawing/2017/decorative" val="0"/>
              </a:ext>
            </a:extLst>
          </p:cNvPr>
          <p:cNvPicPr>
            <a:picLocks noChangeAspect="1"/>
          </p:cNvPicPr>
          <p:nvPr/>
        </p:nvPicPr>
        <p:blipFill rotWithShape="1">
          <a:blip r:embed="rId7"/>
          <a:srcRect b="3736"/>
          <a:stretch/>
        </p:blipFill>
        <p:spPr>
          <a:xfrm>
            <a:off x="3182938" y="4840226"/>
            <a:ext cx="224338" cy="215956"/>
          </a:xfrm>
          <a:prstGeom prst="rect">
            <a:avLst/>
          </a:prstGeom>
          <a:ln w="6657" cap="flat">
            <a:noFill/>
            <a:prstDash val="solid"/>
            <a:miter/>
          </a:ln>
          <a:effectLst/>
        </p:spPr>
      </p:pic>
      <p:sp>
        <p:nvSpPr>
          <p:cNvPr id="206" name="TextBox 205">
            <a:extLst>
              <a:ext uri="{FF2B5EF4-FFF2-40B4-BE49-F238E27FC236}">
                <a16:creationId xmlns:a16="http://schemas.microsoft.com/office/drawing/2014/main" id="{6528595F-C4CE-214F-9200-0D0837A0E04C}"/>
              </a:ext>
              <a:ext uri="{C183D7F6-B498-43B3-948B-1728B52AA6E4}">
                <adec:decorative xmlns:adec="http://schemas.microsoft.com/office/drawing/2017/decorative" val="0"/>
              </a:ext>
            </a:extLst>
          </p:cNvPr>
          <p:cNvSpPr txBox="1"/>
          <p:nvPr/>
        </p:nvSpPr>
        <p:spPr>
          <a:xfrm>
            <a:off x="6452377" y="4913636"/>
            <a:ext cx="2209629" cy="69136"/>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Corporate performance management system</a:t>
            </a:r>
          </a:p>
        </p:txBody>
      </p:sp>
      <p:pic>
        <p:nvPicPr>
          <p:cNvPr id="33" name="Picture 32">
            <a:extLst>
              <a:ext uri="{FF2B5EF4-FFF2-40B4-BE49-F238E27FC236}">
                <a16:creationId xmlns:a16="http://schemas.microsoft.com/office/drawing/2014/main" id="{A648C6F5-9402-6F7A-55C9-72754C18AC18}"/>
              </a:ext>
              <a:ext uri="{C183D7F6-B498-43B3-948B-1728B52AA6E4}">
                <adec:decorative xmlns:adec="http://schemas.microsoft.com/office/drawing/2017/decorative" val="0"/>
              </a:ext>
            </a:extLst>
          </p:cNvPr>
          <p:cNvPicPr>
            <a:picLocks noChangeAspect="1"/>
          </p:cNvPicPr>
          <p:nvPr/>
        </p:nvPicPr>
        <p:blipFill rotWithShape="1">
          <a:blip r:embed="rId7"/>
          <a:srcRect b="3736"/>
          <a:stretch/>
        </p:blipFill>
        <p:spPr>
          <a:xfrm>
            <a:off x="6067425" y="4840226"/>
            <a:ext cx="224338" cy="215956"/>
          </a:xfrm>
          <a:prstGeom prst="rect">
            <a:avLst/>
          </a:prstGeom>
          <a:ln w="6657" cap="flat">
            <a:noFill/>
            <a:prstDash val="solid"/>
            <a:miter/>
          </a:ln>
          <a:effectLst/>
        </p:spPr>
      </p:pic>
      <p:sp>
        <p:nvSpPr>
          <p:cNvPr id="200" name="TextBox 199">
            <a:extLst>
              <a:ext uri="{FF2B5EF4-FFF2-40B4-BE49-F238E27FC236}">
                <a16:creationId xmlns:a16="http://schemas.microsoft.com/office/drawing/2014/main" id="{E2E0D8FF-AB9A-3D3F-D5E4-542422D0082F}"/>
              </a:ext>
              <a:ext uri="{C183D7F6-B498-43B3-948B-1728B52AA6E4}">
                <adec:decorative xmlns:adec="http://schemas.microsoft.com/office/drawing/2017/decorative" val="0"/>
              </a:ext>
            </a:extLst>
          </p:cNvPr>
          <p:cNvSpPr txBox="1"/>
          <p:nvPr/>
        </p:nvSpPr>
        <p:spPr>
          <a:xfrm>
            <a:off x="9309271" y="4913636"/>
            <a:ext cx="2209629" cy="69136"/>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Corporate performance management system</a:t>
            </a:r>
          </a:p>
        </p:txBody>
      </p:sp>
      <p:pic>
        <p:nvPicPr>
          <p:cNvPr id="35" name="Picture 34">
            <a:extLst>
              <a:ext uri="{FF2B5EF4-FFF2-40B4-BE49-F238E27FC236}">
                <a16:creationId xmlns:a16="http://schemas.microsoft.com/office/drawing/2014/main" id="{5F21F911-46AF-D619-4DC3-3ECB399833C7}"/>
              </a:ext>
              <a:ext uri="{C183D7F6-B498-43B3-948B-1728B52AA6E4}">
                <adec:decorative xmlns:adec="http://schemas.microsoft.com/office/drawing/2017/decorative" val="0"/>
              </a:ext>
            </a:extLst>
          </p:cNvPr>
          <p:cNvPicPr>
            <a:picLocks noChangeAspect="1"/>
          </p:cNvPicPr>
          <p:nvPr/>
        </p:nvPicPr>
        <p:blipFill rotWithShape="1">
          <a:blip r:embed="rId7"/>
          <a:srcRect b="3736"/>
          <a:stretch/>
        </p:blipFill>
        <p:spPr>
          <a:xfrm>
            <a:off x="8950325" y="4840226"/>
            <a:ext cx="224338" cy="215956"/>
          </a:xfrm>
          <a:prstGeom prst="rect">
            <a:avLst/>
          </a:prstGeom>
          <a:ln w="6657" cap="flat">
            <a:noFill/>
            <a:prstDash val="solid"/>
            <a:miter/>
          </a:ln>
          <a:effectLst/>
        </p:spPr>
      </p:pic>
      <p:sp>
        <p:nvSpPr>
          <p:cNvPr id="185" name="TextBox 184">
            <a:extLst>
              <a:ext uri="{FF2B5EF4-FFF2-40B4-BE49-F238E27FC236}">
                <a16:creationId xmlns:a16="http://schemas.microsoft.com/office/drawing/2014/main" id="{79480AFB-9537-6ABD-262A-3A3439755963}"/>
              </a:ext>
              <a:ext uri="{C183D7F6-B498-43B3-948B-1728B52AA6E4}">
                <adec:decorative xmlns:adec="http://schemas.microsoft.com/office/drawing/2017/decorative" val="0"/>
              </a:ext>
            </a:extLst>
          </p:cNvPr>
          <p:cNvSpPr txBox="1"/>
          <p:nvPr/>
        </p:nvSpPr>
        <p:spPr>
          <a:xfrm>
            <a:off x="3567890" y="2265085"/>
            <a:ext cx="1975660" cy="99866"/>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Corporate performance management system</a:t>
            </a:r>
          </a:p>
        </p:txBody>
      </p:sp>
      <p:pic>
        <p:nvPicPr>
          <p:cNvPr id="38" name="Graphic 37">
            <a:extLst>
              <a:ext uri="{FF2B5EF4-FFF2-40B4-BE49-F238E27FC236}">
                <a16:creationId xmlns:a16="http://schemas.microsoft.com/office/drawing/2014/main" id="{3979F5B2-50AD-7EF9-1A92-AD317F2CD937}"/>
              </a:ext>
              <a:ext uri="{C183D7F6-B498-43B3-948B-1728B52AA6E4}">
                <adec:decorative xmlns:adec="http://schemas.microsoft.com/office/drawing/2017/decorative" val="1"/>
              </a:ext>
            </a:extLst>
          </p:cNvPr>
          <p:cNvPicPr>
            <a:picLocks noChangeAspect="1"/>
          </p:cNvPicPr>
          <p:nvPr/>
        </p:nvPicPr>
        <p:blipFill rotWithShape="1">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l="8514" r="8514"/>
          <a:stretch/>
        </p:blipFill>
        <p:spPr>
          <a:xfrm>
            <a:off x="8950325" y="2185643"/>
            <a:ext cx="236608" cy="285168"/>
          </a:xfrm>
          <a:prstGeom prst="rect">
            <a:avLst/>
          </a:prstGeom>
        </p:spPr>
      </p:pic>
      <p:sp>
        <p:nvSpPr>
          <p:cNvPr id="39" name="TextBox 38">
            <a:extLst>
              <a:ext uri="{FF2B5EF4-FFF2-40B4-BE49-F238E27FC236}">
                <a16:creationId xmlns:a16="http://schemas.microsoft.com/office/drawing/2014/main" id="{B94DD405-6D55-049A-7DD3-7FEBEC714DF9}"/>
              </a:ext>
              <a:ext uri="{C183D7F6-B498-43B3-948B-1728B52AA6E4}">
                <adec:decorative xmlns:adec="http://schemas.microsoft.com/office/drawing/2017/decorative" val="0"/>
              </a:ext>
            </a:extLst>
          </p:cNvPr>
          <p:cNvSpPr txBox="1"/>
          <p:nvPr/>
        </p:nvSpPr>
        <p:spPr>
          <a:xfrm>
            <a:off x="9329077" y="2101850"/>
            <a:ext cx="1830524" cy="4527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Power BI</a:t>
            </a:r>
          </a:p>
        </p:txBody>
      </p:sp>
      <p:sp>
        <p:nvSpPr>
          <p:cNvPr id="42" name="TextBox 41">
            <a:extLst>
              <a:ext uri="{FF2B5EF4-FFF2-40B4-BE49-F238E27FC236}">
                <a16:creationId xmlns:a16="http://schemas.microsoft.com/office/drawing/2014/main" id="{EDCF4EA9-C335-829E-B459-F547EA020774}"/>
              </a:ext>
              <a:ext uri="{C183D7F6-B498-43B3-948B-1728B52AA6E4}">
                <adec:decorative xmlns:adec="http://schemas.microsoft.com/office/drawing/2017/decorative" val="0"/>
              </a:ext>
            </a:extLst>
          </p:cNvPr>
          <p:cNvSpPr txBox="1"/>
          <p:nvPr/>
        </p:nvSpPr>
        <p:spPr>
          <a:xfrm>
            <a:off x="6445284"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43" name="Picture 50">
            <a:hlinkClick r:id="rId10"/>
            <a:extLst>
              <a:ext uri="{FF2B5EF4-FFF2-40B4-BE49-F238E27FC236}">
                <a16:creationId xmlns:a16="http://schemas.microsoft.com/office/drawing/2014/main" id="{4D9CF913-5A77-9820-468C-816D3FAE20F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066682"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868730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 name="Text Placeholder 209">
            <a:extLst>
              <a:ext uri="{FF2B5EF4-FFF2-40B4-BE49-F238E27FC236}">
                <a16:creationId xmlns:a16="http://schemas.microsoft.com/office/drawing/2014/main" id="{99457A1E-97FD-0688-190B-709A96743BD9}"/>
              </a:ext>
            </a:extLst>
          </p:cNvPr>
          <p:cNvSpPr>
            <a:spLocks noGrp="1"/>
          </p:cNvSpPr>
          <p:nvPr>
            <p:ph type="body" sz="quarter" idx="32"/>
          </p:nvPr>
        </p:nvSpPr>
        <p:spPr>
          <a:xfrm>
            <a:off x="311388" y="1026303"/>
            <a:ext cx="2431246" cy="1131079"/>
          </a:xfrm>
        </p:spPr>
        <p:txBody>
          <a:bodyPr/>
          <a:lstStyle/>
          <a:p>
            <a:r>
              <a:rPr lang="en-US" noProof="0" dirty="0"/>
              <a:t>Use AI to monitor and onboard new suppliers and products to keep the product lineup fresh and ensure adequate inventory levels.</a:t>
            </a:r>
          </a:p>
        </p:txBody>
      </p:sp>
      <p:sp>
        <p:nvSpPr>
          <p:cNvPr id="34" name="Text Placeholder 33">
            <a:extLst>
              <a:ext uri="{FF2B5EF4-FFF2-40B4-BE49-F238E27FC236}">
                <a16:creationId xmlns:a16="http://schemas.microsoft.com/office/drawing/2014/main" id="{07B1F337-1C24-C63F-4EA2-C1A3D01B70F7}"/>
              </a:ext>
            </a:extLst>
          </p:cNvPr>
          <p:cNvSpPr>
            <a:spLocks noGrp="1"/>
          </p:cNvSpPr>
          <p:nvPr>
            <p:ph type="body" sz="quarter" idx="33"/>
          </p:nvPr>
        </p:nvSpPr>
        <p:spPr>
          <a:xfrm>
            <a:off x="304796" y="413987"/>
            <a:ext cx="2057403" cy="307777"/>
          </a:xfrm>
        </p:spPr>
        <p:txBody>
          <a:bodyPr/>
          <a:lstStyle/>
          <a:p>
            <a:r>
              <a:rPr lang="en-IN"/>
              <a:t>Retail</a:t>
            </a:r>
          </a:p>
        </p:txBody>
      </p:sp>
      <p:sp>
        <p:nvSpPr>
          <p:cNvPr id="29" name="Text Placeholder 28">
            <a:extLst>
              <a:ext uri="{FF2B5EF4-FFF2-40B4-BE49-F238E27FC236}">
                <a16:creationId xmlns:a16="http://schemas.microsoft.com/office/drawing/2014/main" id="{B8E04E6A-165A-C183-766B-EC220FC8274A}"/>
              </a:ext>
            </a:extLst>
          </p:cNvPr>
          <p:cNvSpPr>
            <a:spLocks noGrp="1"/>
          </p:cNvSpPr>
          <p:nvPr>
            <p:ph type="body" sz="quarter" idx="30"/>
          </p:nvPr>
        </p:nvSpPr>
        <p:spPr>
          <a:xfrm>
            <a:off x="10430351" y="521099"/>
            <a:ext cx="1456966" cy="175614"/>
          </a:xfrm>
        </p:spPr>
        <p:txBody>
          <a:bodyPr/>
          <a:lstStyle/>
          <a:p>
            <a:r>
              <a:rPr lang="en-US" noProof="0"/>
              <a:t>Extend</a:t>
            </a:r>
          </a:p>
        </p:txBody>
      </p:sp>
      <p:sp>
        <p:nvSpPr>
          <p:cNvPr id="27" name="Text Placeholder 26">
            <a:extLst>
              <a:ext uri="{FF2B5EF4-FFF2-40B4-BE49-F238E27FC236}">
                <a16:creationId xmlns:a16="http://schemas.microsoft.com/office/drawing/2014/main" id="{5FEE4B9D-DB45-863E-9D73-BB71F99E34E6}"/>
              </a:ext>
            </a:extLst>
          </p:cNvPr>
          <p:cNvSpPr>
            <a:spLocks noGrp="1"/>
          </p:cNvSpPr>
          <p:nvPr>
            <p:ph type="body" sz="quarter" idx="17"/>
          </p:nvPr>
        </p:nvSpPr>
        <p:spPr>
          <a:xfrm>
            <a:off x="7149557" y="521100"/>
            <a:ext cx="2969488" cy="169277"/>
          </a:xfrm>
        </p:spPr>
        <p:txBody>
          <a:bodyPr/>
          <a:lstStyle/>
          <a:p>
            <a:r>
              <a:rPr lang="en-US" noProof="0"/>
              <a:t>Microsoft 365 Copilot and Copilot Studio</a:t>
            </a:r>
          </a:p>
        </p:txBody>
      </p:sp>
      <p:sp>
        <p:nvSpPr>
          <p:cNvPr id="24" name="Title 23">
            <a:extLst>
              <a:ext uri="{FF2B5EF4-FFF2-40B4-BE49-F238E27FC236}">
                <a16:creationId xmlns:a16="http://schemas.microsoft.com/office/drawing/2014/main" id="{AB7659DE-0FFA-EAE3-2E89-145C6050D90F}"/>
              </a:ext>
            </a:extLst>
          </p:cNvPr>
          <p:cNvSpPr>
            <a:spLocks noGrp="1"/>
          </p:cNvSpPr>
          <p:nvPr>
            <p:ph type="title"/>
          </p:nvPr>
        </p:nvSpPr>
        <p:spPr>
          <a:xfrm>
            <a:off x="2492556" y="429376"/>
            <a:ext cx="4144817" cy="276999"/>
          </a:xfrm>
        </p:spPr>
        <p:txBody>
          <a:bodyPr/>
          <a:lstStyle/>
          <a:p>
            <a:r>
              <a:rPr lang="en-IN"/>
              <a:t>Optimize supply chain management</a:t>
            </a:r>
          </a:p>
        </p:txBody>
      </p:sp>
      <p:sp>
        <p:nvSpPr>
          <p:cNvPr id="120" name="Text Placeholder 119">
            <a:extLst>
              <a:ext uri="{FF2B5EF4-FFF2-40B4-BE49-F238E27FC236}">
                <a16:creationId xmlns:a16="http://schemas.microsoft.com/office/drawing/2014/main" id="{12DA0868-3618-C843-3E31-FC06893A1032}"/>
              </a:ext>
            </a:extLst>
          </p:cNvPr>
          <p:cNvSpPr>
            <a:spLocks noGrp="1"/>
          </p:cNvSpPr>
          <p:nvPr>
            <p:ph type="body" sz="quarter" idx="69"/>
          </p:nvPr>
        </p:nvSpPr>
        <p:spPr>
          <a:xfrm>
            <a:off x="3182890" y="2725494"/>
            <a:ext cx="2572262" cy="712876"/>
          </a:xfrm>
        </p:spPr>
        <p:txBody>
          <a:bodyPr/>
          <a:lstStyle/>
          <a:p>
            <a:r>
              <a:rPr lang="en-US" noProof="0" dirty="0"/>
              <a:t>Benefit: </a:t>
            </a:r>
            <a:r>
              <a:rPr lang="en-US" dirty="0">
                <a:latin typeface="+mj-lt"/>
              </a:rPr>
              <a:t>Summarize and prioritize </a:t>
            </a:r>
            <a:r>
              <a:rPr lang="en-US" noProof="0" dirty="0"/>
              <a:t>emails received. Review critical issues impacting supply and delivery.</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3"/>
              </a:rPr>
              <a:t>Try in Prompt Gallery: Stay informed</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noProof="0" dirty="0"/>
          </a:p>
        </p:txBody>
      </p:sp>
      <p:sp>
        <p:nvSpPr>
          <p:cNvPr id="26" name="Text Placeholder 25">
            <a:extLst>
              <a:ext uri="{FF2B5EF4-FFF2-40B4-BE49-F238E27FC236}">
                <a16:creationId xmlns:a16="http://schemas.microsoft.com/office/drawing/2014/main" id="{D7350EE7-229C-CFCF-4EB1-A8839A0F9575}"/>
              </a:ext>
            </a:extLst>
          </p:cNvPr>
          <p:cNvSpPr>
            <a:spLocks noGrp="1"/>
          </p:cNvSpPr>
          <p:nvPr>
            <p:ph type="body" sz="quarter" idx="11"/>
          </p:nvPr>
        </p:nvSpPr>
        <p:spPr>
          <a:xfrm>
            <a:off x="3182890" y="1112478"/>
            <a:ext cx="2572262" cy="153888"/>
          </a:xfrm>
        </p:spPr>
        <p:txBody>
          <a:bodyPr/>
          <a:lstStyle/>
          <a:p>
            <a:r>
              <a:rPr lang="en-US" noProof="0"/>
              <a:t>Summarize and prioritize emails</a:t>
            </a:r>
          </a:p>
        </p:txBody>
      </p:sp>
      <p:sp>
        <p:nvSpPr>
          <p:cNvPr id="107" name="Text Placeholder 106">
            <a:extLst>
              <a:ext uri="{FF2B5EF4-FFF2-40B4-BE49-F238E27FC236}">
                <a16:creationId xmlns:a16="http://schemas.microsoft.com/office/drawing/2014/main" id="{F282D7B3-54CB-2DB9-93B8-AB8D3351DDB7}"/>
              </a:ext>
            </a:extLst>
          </p:cNvPr>
          <p:cNvSpPr>
            <a:spLocks noGrp="1"/>
          </p:cNvSpPr>
          <p:nvPr>
            <p:ph type="body" sz="quarter" idx="18"/>
          </p:nvPr>
        </p:nvSpPr>
        <p:spPr>
          <a:xfrm>
            <a:off x="3182890" y="1438715"/>
            <a:ext cx="2572262" cy="626701"/>
          </a:xfrm>
        </p:spPr>
        <p:txBody>
          <a:bodyPr/>
          <a:lstStyle/>
          <a:p>
            <a:r>
              <a:rPr lang="en-US" noProof="0"/>
              <a:t>A supply chain manager receives a high volume </a:t>
            </a:r>
            <a:br>
              <a:rPr lang="en-US" noProof="0"/>
            </a:br>
            <a:r>
              <a:rPr lang="en-US" noProof="0"/>
              <a:t>of email daily from suppliers, customers, and colleagues containing urgent information, requests, and feedback. Some of which are time sensitive.</a:t>
            </a:r>
          </a:p>
          <a:p>
            <a:endParaRPr lang="en-US" noProof="0"/>
          </a:p>
        </p:txBody>
      </p:sp>
      <p:sp>
        <p:nvSpPr>
          <p:cNvPr id="36" name="Text Placeholder 35">
            <a:extLst>
              <a:ext uri="{FF2B5EF4-FFF2-40B4-BE49-F238E27FC236}">
                <a16:creationId xmlns:a16="http://schemas.microsoft.com/office/drawing/2014/main" id="{BD1D85E7-34CC-D187-57CB-0C109AECF962}"/>
              </a:ext>
            </a:extLst>
          </p:cNvPr>
          <p:cNvSpPr>
            <a:spLocks noGrp="1"/>
          </p:cNvSpPr>
          <p:nvPr>
            <p:ph type="body" sz="quarter" idx="42"/>
          </p:nvPr>
        </p:nvSpPr>
        <p:spPr>
          <a:xfrm>
            <a:off x="6066682" y="1112478"/>
            <a:ext cx="2572262" cy="153888"/>
          </a:xfrm>
        </p:spPr>
        <p:txBody>
          <a:bodyPr/>
          <a:lstStyle/>
          <a:p>
            <a:r>
              <a:rPr lang="en-US" noProof="0"/>
              <a:t>Review and respond</a:t>
            </a:r>
          </a:p>
        </p:txBody>
      </p:sp>
      <p:sp>
        <p:nvSpPr>
          <p:cNvPr id="113" name="Text Placeholder 112">
            <a:extLst>
              <a:ext uri="{FF2B5EF4-FFF2-40B4-BE49-F238E27FC236}">
                <a16:creationId xmlns:a16="http://schemas.microsoft.com/office/drawing/2014/main" id="{3C1136BE-8862-1A27-8C70-0C4A38D558B4}"/>
              </a:ext>
            </a:extLst>
          </p:cNvPr>
          <p:cNvSpPr>
            <a:spLocks noGrp="1"/>
          </p:cNvSpPr>
          <p:nvPr>
            <p:ph type="body" sz="quarter" idx="43"/>
          </p:nvPr>
        </p:nvSpPr>
        <p:spPr>
          <a:xfrm>
            <a:off x="6066682" y="1438715"/>
            <a:ext cx="2572262" cy="626701"/>
          </a:xfrm>
        </p:spPr>
        <p:txBody>
          <a:bodyPr/>
          <a:lstStyle/>
          <a:p>
            <a:r>
              <a:rPr lang="en-US" noProof="0"/>
              <a:t>The supply chain manager can click on the links provided to open specific emails and quickly deal with time sensitive issues, such as customer shipment delays. </a:t>
            </a:r>
          </a:p>
          <a:p>
            <a:endParaRPr lang="en-US" noProof="0"/>
          </a:p>
        </p:txBody>
      </p:sp>
      <p:sp>
        <p:nvSpPr>
          <p:cNvPr id="116" name="Text Placeholder 115">
            <a:extLst>
              <a:ext uri="{FF2B5EF4-FFF2-40B4-BE49-F238E27FC236}">
                <a16:creationId xmlns:a16="http://schemas.microsoft.com/office/drawing/2014/main" id="{94ED9B96-5643-5AE1-8973-D6446DA6345C}"/>
              </a:ext>
            </a:extLst>
          </p:cNvPr>
          <p:cNvSpPr>
            <a:spLocks noGrp="1"/>
          </p:cNvSpPr>
          <p:nvPr>
            <p:ph type="body" sz="quarter" idx="68"/>
          </p:nvPr>
        </p:nvSpPr>
        <p:spPr>
          <a:xfrm>
            <a:off x="8950475" y="2725494"/>
            <a:ext cx="2572262" cy="712876"/>
          </a:xfrm>
        </p:spPr>
        <p:txBody>
          <a:bodyPr/>
          <a:lstStyle/>
          <a:p>
            <a:r>
              <a:rPr lang="en-US" noProof="0"/>
              <a:t>Benefit: </a:t>
            </a:r>
            <a:r>
              <a:rPr lang="en-US">
                <a:latin typeface="+mj-lt"/>
              </a:rPr>
              <a:t>Identify gaps and risks for each purchasing agreement </a:t>
            </a:r>
            <a:r>
              <a:rPr lang="en-US" noProof="0"/>
              <a:t>with automated contract comparison to compare new purchasing agreements with standard agreements to identify potential conflicts or gaps.​</a:t>
            </a:r>
          </a:p>
        </p:txBody>
      </p:sp>
      <p:sp>
        <p:nvSpPr>
          <p:cNvPr id="39" name="Text Placeholder 38">
            <a:extLst>
              <a:ext uri="{FF2B5EF4-FFF2-40B4-BE49-F238E27FC236}">
                <a16:creationId xmlns:a16="http://schemas.microsoft.com/office/drawing/2014/main" id="{26420548-1966-558E-2530-896524C45543}"/>
              </a:ext>
            </a:extLst>
          </p:cNvPr>
          <p:cNvSpPr>
            <a:spLocks noGrp="1"/>
          </p:cNvSpPr>
          <p:nvPr>
            <p:ph type="body" sz="quarter" idx="45"/>
          </p:nvPr>
        </p:nvSpPr>
        <p:spPr>
          <a:xfrm>
            <a:off x="8950475" y="1112478"/>
            <a:ext cx="2572262" cy="153888"/>
          </a:xfrm>
        </p:spPr>
        <p:txBody>
          <a:bodyPr/>
          <a:lstStyle/>
          <a:p>
            <a:r>
              <a:rPr lang="en-US" noProof="0"/>
              <a:t>Review purchasing agreements</a:t>
            </a:r>
          </a:p>
        </p:txBody>
      </p:sp>
      <p:sp>
        <p:nvSpPr>
          <p:cNvPr id="115" name="Text Placeholder 114">
            <a:extLst>
              <a:ext uri="{FF2B5EF4-FFF2-40B4-BE49-F238E27FC236}">
                <a16:creationId xmlns:a16="http://schemas.microsoft.com/office/drawing/2014/main" id="{C0B61C1F-F598-8833-EE4A-F6C4AF63D1F0}"/>
              </a:ext>
            </a:extLst>
          </p:cNvPr>
          <p:cNvSpPr>
            <a:spLocks noGrp="1"/>
          </p:cNvSpPr>
          <p:nvPr>
            <p:ph type="body" sz="quarter" idx="46"/>
          </p:nvPr>
        </p:nvSpPr>
        <p:spPr>
          <a:xfrm>
            <a:off x="8950475" y="1438715"/>
            <a:ext cx="2572262" cy="626701"/>
          </a:xfrm>
        </p:spPr>
        <p:txBody>
          <a:bodyPr/>
          <a:lstStyle/>
          <a:p>
            <a:r>
              <a:rPr lang="en-US" noProof="0"/>
              <a:t>The next critical email is to review and sign a new purchasing agreement with a supplier. The supply chain manager must ensure they are accurate, complete, and getting the best terms. </a:t>
            </a:r>
          </a:p>
          <a:p>
            <a:endParaRPr lang="en-US" noProof="0"/>
          </a:p>
        </p:txBody>
      </p:sp>
      <p:sp>
        <p:nvSpPr>
          <p:cNvPr id="122" name="Text Placeholder 121">
            <a:extLst>
              <a:ext uri="{FF2B5EF4-FFF2-40B4-BE49-F238E27FC236}">
                <a16:creationId xmlns:a16="http://schemas.microsoft.com/office/drawing/2014/main" id="{C3E6D837-0FC2-61D3-AB96-1405455BF56C}"/>
              </a:ext>
            </a:extLst>
          </p:cNvPr>
          <p:cNvSpPr>
            <a:spLocks noGrp="1"/>
          </p:cNvSpPr>
          <p:nvPr>
            <p:ph type="body" sz="quarter" idx="70"/>
          </p:nvPr>
        </p:nvSpPr>
        <p:spPr>
          <a:xfrm>
            <a:off x="6066682" y="2725494"/>
            <a:ext cx="2572262" cy="712876"/>
          </a:xfrm>
        </p:spPr>
        <p:txBody>
          <a:bodyPr/>
          <a:lstStyle/>
          <a:p>
            <a:r>
              <a:rPr lang="en-US" noProof="0" dirty="0"/>
              <a:t>Benefit: </a:t>
            </a:r>
            <a:r>
              <a:rPr lang="en-US" dirty="0">
                <a:latin typeface="+mj-lt"/>
              </a:rPr>
              <a:t>Use Copilot in Outlook to draft response </a:t>
            </a:r>
            <a:r>
              <a:rPr lang="en-US" noProof="0" dirty="0"/>
              <a:t>to acknowledge delay and confirm new delivery details. Draft email to customer on shipment changes. </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4"/>
              </a:rPr>
              <a:t>Try in Prompt Gallery: Reply to an email</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noProof="0" dirty="0"/>
          </a:p>
        </p:txBody>
      </p:sp>
      <p:sp>
        <p:nvSpPr>
          <p:cNvPr id="117" name="Text Placeholder 116">
            <a:extLst>
              <a:ext uri="{FF2B5EF4-FFF2-40B4-BE49-F238E27FC236}">
                <a16:creationId xmlns:a16="http://schemas.microsoft.com/office/drawing/2014/main" id="{D4DE33AB-7082-B180-BC9B-1E6FD0E9DA63}"/>
              </a:ext>
            </a:extLst>
          </p:cNvPr>
          <p:cNvSpPr>
            <a:spLocks noGrp="1"/>
          </p:cNvSpPr>
          <p:nvPr>
            <p:ph type="body" sz="quarter" idx="48"/>
          </p:nvPr>
        </p:nvSpPr>
        <p:spPr>
          <a:xfrm>
            <a:off x="3182890" y="5334522"/>
            <a:ext cx="2572262" cy="712876"/>
          </a:xfrm>
        </p:spPr>
        <p:txBody>
          <a:bodyPr/>
          <a:lstStyle/>
          <a:p>
            <a:r>
              <a:rPr lang="en-US" noProof="0"/>
              <a:t>Benefit: </a:t>
            </a:r>
            <a:r>
              <a:rPr lang="en-US">
                <a:latin typeface="+mj-lt"/>
              </a:rPr>
              <a:t>Access and analyze inventory data </a:t>
            </a:r>
            <a:r>
              <a:rPr lang="en-US" noProof="0"/>
              <a:t>from various sources, such as Enterprise Resource Planning (ERP) system, the Warehouse Management (WMS) system, and the Point of Sale (POS) system.</a:t>
            </a:r>
          </a:p>
        </p:txBody>
      </p:sp>
      <p:sp>
        <p:nvSpPr>
          <p:cNvPr id="43" name="Text Placeholder 42">
            <a:extLst>
              <a:ext uri="{FF2B5EF4-FFF2-40B4-BE49-F238E27FC236}">
                <a16:creationId xmlns:a16="http://schemas.microsoft.com/office/drawing/2014/main" id="{A26BEAA5-F8C4-8117-6AD9-BA50F41B7DE8}"/>
              </a:ext>
            </a:extLst>
          </p:cNvPr>
          <p:cNvSpPr>
            <a:spLocks noGrp="1"/>
          </p:cNvSpPr>
          <p:nvPr>
            <p:ph type="body" sz="quarter" idx="49"/>
          </p:nvPr>
        </p:nvSpPr>
        <p:spPr>
          <a:xfrm>
            <a:off x="3182890" y="3725103"/>
            <a:ext cx="2572262" cy="153888"/>
          </a:xfrm>
        </p:spPr>
        <p:txBody>
          <a:bodyPr/>
          <a:lstStyle/>
          <a:p>
            <a:r>
              <a:rPr lang="en-US" noProof="0"/>
              <a:t>Monitor and analyze inventory data</a:t>
            </a:r>
          </a:p>
        </p:txBody>
      </p:sp>
      <p:sp>
        <p:nvSpPr>
          <p:cNvPr id="118" name="Text Placeholder 117">
            <a:extLst>
              <a:ext uri="{FF2B5EF4-FFF2-40B4-BE49-F238E27FC236}">
                <a16:creationId xmlns:a16="http://schemas.microsoft.com/office/drawing/2014/main" id="{4FB9FCFF-5484-56CC-845C-38800D369738}"/>
              </a:ext>
            </a:extLst>
          </p:cNvPr>
          <p:cNvSpPr>
            <a:spLocks noGrp="1"/>
          </p:cNvSpPr>
          <p:nvPr>
            <p:ph type="body" sz="quarter" idx="50"/>
          </p:nvPr>
        </p:nvSpPr>
        <p:spPr>
          <a:xfrm>
            <a:off x="3182890" y="4050957"/>
            <a:ext cx="2572262" cy="626701"/>
          </a:xfrm>
        </p:spPr>
        <p:txBody>
          <a:bodyPr/>
          <a:lstStyle/>
          <a:p>
            <a:r>
              <a:rPr lang="en-US" noProof="0"/>
              <a:t>The next item is a request for latest product forecast to ensure there is enough stock to meet customer demand without carrying too much inventory. </a:t>
            </a:r>
          </a:p>
          <a:p>
            <a:endParaRPr lang="en-US" noProof="0"/>
          </a:p>
        </p:txBody>
      </p:sp>
      <p:sp>
        <p:nvSpPr>
          <p:cNvPr id="46" name="Text Placeholder 45">
            <a:extLst>
              <a:ext uri="{FF2B5EF4-FFF2-40B4-BE49-F238E27FC236}">
                <a16:creationId xmlns:a16="http://schemas.microsoft.com/office/drawing/2014/main" id="{B0CEAB53-60BE-E032-67B9-FA571BE84163}"/>
              </a:ext>
            </a:extLst>
          </p:cNvPr>
          <p:cNvSpPr>
            <a:spLocks noGrp="1"/>
          </p:cNvSpPr>
          <p:nvPr>
            <p:ph type="body" sz="quarter" idx="51"/>
          </p:nvPr>
        </p:nvSpPr>
        <p:spPr>
          <a:xfrm>
            <a:off x="6066682" y="3725103"/>
            <a:ext cx="2572262" cy="153888"/>
          </a:xfrm>
        </p:spPr>
        <p:txBody>
          <a:bodyPr/>
          <a:lstStyle/>
          <a:p>
            <a:r>
              <a:rPr lang="en-US" noProof="0"/>
              <a:t>Marketing copy for new products</a:t>
            </a:r>
          </a:p>
        </p:txBody>
      </p:sp>
      <p:sp>
        <p:nvSpPr>
          <p:cNvPr id="119" name="Text Placeholder 118">
            <a:extLst>
              <a:ext uri="{FF2B5EF4-FFF2-40B4-BE49-F238E27FC236}">
                <a16:creationId xmlns:a16="http://schemas.microsoft.com/office/drawing/2014/main" id="{71A0B647-4729-6158-629B-9B4880AE2159}"/>
              </a:ext>
            </a:extLst>
          </p:cNvPr>
          <p:cNvSpPr>
            <a:spLocks noGrp="1"/>
          </p:cNvSpPr>
          <p:nvPr>
            <p:ph type="body" sz="quarter" idx="52"/>
          </p:nvPr>
        </p:nvSpPr>
        <p:spPr>
          <a:xfrm>
            <a:off x="6066682" y="4050957"/>
            <a:ext cx="2572262" cy="626701"/>
          </a:xfrm>
        </p:spPr>
        <p:txBody>
          <a:bodyPr/>
          <a:lstStyle/>
          <a:p>
            <a:r>
              <a:rPr lang="en-US" noProof="0"/>
              <a:t>The third email requires collaboration with the marketing team on reviewing copy to showcase the features and benefits of a new product. </a:t>
            </a:r>
          </a:p>
          <a:p>
            <a:endParaRPr lang="en-US" noProof="0"/>
          </a:p>
        </p:txBody>
      </p:sp>
      <p:sp>
        <p:nvSpPr>
          <p:cNvPr id="112" name="Text Placeholder 111">
            <a:extLst>
              <a:ext uri="{FF2B5EF4-FFF2-40B4-BE49-F238E27FC236}">
                <a16:creationId xmlns:a16="http://schemas.microsoft.com/office/drawing/2014/main" id="{EB7E61A9-220C-709A-5FEB-5EE5F172F567}"/>
              </a:ext>
            </a:extLst>
          </p:cNvPr>
          <p:cNvSpPr>
            <a:spLocks noGrp="1"/>
          </p:cNvSpPr>
          <p:nvPr>
            <p:ph type="body" sz="quarter" idx="66"/>
          </p:nvPr>
        </p:nvSpPr>
        <p:spPr>
          <a:xfrm>
            <a:off x="8950475" y="5334522"/>
            <a:ext cx="2572262" cy="712876"/>
          </a:xfrm>
        </p:spPr>
        <p:txBody>
          <a:bodyPr/>
          <a:lstStyle/>
          <a:p>
            <a:r>
              <a:rPr lang="en-US" noProof="0"/>
              <a:t>Benefit: </a:t>
            </a:r>
            <a:r>
              <a:rPr lang="en-US">
                <a:latin typeface="+mj-lt"/>
              </a:rPr>
              <a:t>Send revised contract </a:t>
            </a:r>
            <a:r>
              <a:rPr lang="en-US" noProof="0"/>
              <a:t>and request and track signatures using the companies e-sign app to attach the word document. </a:t>
            </a:r>
          </a:p>
        </p:txBody>
      </p:sp>
      <p:sp>
        <p:nvSpPr>
          <p:cNvPr id="64" name="Text Placeholder 63">
            <a:extLst>
              <a:ext uri="{FF2B5EF4-FFF2-40B4-BE49-F238E27FC236}">
                <a16:creationId xmlns:a16="http://schemas.microsoft.com/office/drawing/2014/main" id="{602E879E-3510-35E7-D212-F4148EE64AB2}"/>
              </a:ext>
            </a:extLst>
          </p:cNvPr>
          <p:cNvSpPr>
            <a:spLocks noGrp="1"/>
          </p:cNvSpPr>
          <p:nvPr>
            <p:ph type="body" sz="quarter" idx="54"/>
          </p:nvPr>
        </p:nvSpPr>
        <p:spPr>
          <a:xfrm>
            <a:off x="8950475" y="3725103"/>
            <a:ext cx="2572262" cy="153888"/>
          </a:xfrm>
        </p:spPr>
        <p:txBody>
          <a:bodyPr/>
          <a:lstStyle/>
          <a:p>
            <a:r>
              <a:rPr lang="en-US" noProof="0"/>
              <a:t>Manage contract signatory process</a:t>
            </a:r>
          </a:p>
        </p:txBody>
      </p:sp>
      <p:sp>
        <p:nvSpPr>
          <p:cNvPr id="121" name="Text Placeholder 120">
            <a:extLst>
              <a:ext uri="{FF2B5EF4-FFF2-40B4-BE49-F238E27FC236}">
                <a16:creationId xmlns:a16="http://schemas.microsoft.com/office/drawing/2014/main" id="{54D8004C-779D-3A82-3538-DEBD6319AAF8}"/>
              </a:ext>
            </a:extLst>
          </p:cNvPr>
          <p:cNvSpPr>
            <a:spLocks noGrp="1"/>
          </p:cNvSpPr>
          <p:nvPr>
            <p:ph type="body" sz="quarter" idx="55"/>
          </p:nvPr>
        </p:nvSpPr>
        <p:spPr>
          <a:xfrm>
            <a:off x="8950475" y="4050957"/>
            <a:ext cx="2572262" cy="626701"/>
          </a:xfrm>
        </p:spPr>
        <p:txBody>
          <a:bodyPr/>
          <a:lstStyle/>
          <a:p>
            <a:r>
              <a:rPr lang="en-US" noProof="0"/>
              <a:t>After completing the contract review, the updated contract must be sent back to the supplier with changes highlighted for their review and signature. </a:t>
            </a:r>
          </a:p>
          <a:p>
            <a:endParaRPr lang="en-US" noProof="0"/>
          </a:p>
        </p:txBody>
      </p:sp>
      <p:sp>
        <p:nvSpPr>
          <p:cNvPr id="114" name="Text Placeholder 113">
            <a:extLst>
              <a:ext uri="{FF2B5EF4-FFF2-40B4-BE49-F238E27FC236}">
                <a16:creationId xmlns:a16="http://schemas.microsoft.com/office/drawing/2014/main" id="{76961E61-1E9B-5DEF-D082-1E944A6430D0}"/>
              </a:ext>
            </a:extLst>
          </p:cNvPr>
          <p:cNvSpPr>
            <a:spLocks noGrp="1"/>
          </p:cNvSpPr>
          <p:nvPr>
            <p:ph type="body" sz="quarter" idx="67"/>
          </p:nvPr>
        </p:nvSpPr>
        <p:spPr>
          <a:xfrm>
            <a:off x="6066682" y="5334522"/>
            <a:ext cx="2572262" cy="712876"/>
          </a:xfrm>
        </p:spPr>
        <p:txBody>
          <a:bodyPr/>
          <a:lstStyle/>
          <a:p>
            <a:r>
              <a:rPr lang="en-US" noProof="0"/>
              <a:t>Benefit: </a:t>
            </a:r>
            <a:r>
              <a:rPr lang="en-US">
                <a:latin typeface="+mj-lt"/>
              </a:rPr>
              <a:t>Use Copilot to review draft copy </a:t>
            </a:r>
            <a:r>
              <a:rPr lang="en-US" noProof="0"/>
              <a:t>from marketing to compare with information and product description from the supplier. Use Copilot to search supplier catalog for images. Draft email to marketing with suggested changes and images. </a:t>
            </a:r>
          </a:p>
        </p:txBody>
      </p:sp>
      <p:sp>
        <p:nvSpPr>
          <p:cNvPr id="148" name="Text Placeholder 147">
            <a:extLst>
              <a:ext uri="{FF2B5EF4-FFF2-40B4-BE49-F238E27FC236}">
                <a16:creationId xmlns:a16="http://schemas.microsoft.com/office/drawing/2014/main" id="{9CF928A2-B51F-05B6-581F-C5417D37A03C}"/>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49" name="Text Placeholder 148">
            <a:extLst>
              <a:ext uri="{FF2B5EF4-FFF2-40B4-BE49-F238E27FC236}">
                <a16:creationId xmlns:a16="http://schemas.microsoft.com/office/drawing/2014/main" id="{A8AF2C73-A63A-B886-9903-90D645F618D2}"/>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69" name="Graphic 2">
            <a:hlinkClick r:id="rId5"/>
            <a:extLst>
              <a:ext uri="{FF2B5EF4-FFF2-40B4-BE49-F238E27FC236}">
                <a16:creationId xmlns:a16="http://schemas.microsoft.com/office/drawing/2014/main" id="{24FA8282-F079-321B-711B-2D8E460024A2}"/>
              </a:ext>
            </a:extLst>
          </p:cNvPr>
          <p:cNvSpPr>
            <a:spLocks/>
          </p:cNvSpPr>
          <p:nvPr/>
        </p:nvSpPr>
        <p:spPr>
          <a:xfrm>
            <a:off x="6304100" y="424834"/>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0" name="Group 69">
            <a:extLst>
              <a:ext uri="{FF2B5EF4-FFF2-40B4-BE49-F238E27FC236}">
                <a16:creationId xmlns:a16="http://schemas.microsoft.com/office/drawing/2014/main" id="{BE166FCB-AF46-B795-7773-5B76CEEB0C35}"/>
              </a:ext>
            </a:extLst>
          </p:cNvPr>
          <p:cNvGrpSpPr/>
          <p:nvPr/>
        </p:nvGrpSpPr>
        <p:grpSpPr>
          <a:xfrm>
            <a:off x="320719" y="5020658"/>
            <a:ext cx="1771605" cy="216000"/>
            <a:chOff x="320719" y="4224856"/>
            <a:chExt cx="1771605" cy="219456"/>
          </a:xfrm>
        </p:grpSpPr>
        <p:sp>
          <p:nvSpPr>
            <p:cNvPr id="71" name="Rectangle: Rounded Corners 6">
              <a:extLst>
                <a:ext uri="{FF2B5EF4-FFF2-40B4-BE49-F238E27FC236}">
                  <a16:creationId xmlns:a16="http://schemas.microsoft.com/office/drawing/2014/main" id="{521F3A0C-0F53-C3A4-4D6A-BE7FF3FF7BA3}"/>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72" name="Graphic 71">
              <a:extLst>
                <a:ext uri="{FF2B5EF4-FFF2-40B4-BE49-F238E27FC236}">
                  <a16:creationId xmlns:a16="http://schemas.microsoft.com/office/drawing/2014/main" id="{61DDCCF7-8F39-4DB2-19AD-1DFF849D3C58}"/>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73" name="Group 72">
            <a:extLst>
              <a:ext uri="{FF2B5EF4-FFF2-40B4-BE49-F238E27FC236}">
                <a16:creationId xmlns:a16="http://schemas.microsoft.com/office/drawing/2014/main" id="{24B72CB8-ED9C-5F8B-08FF-60EBA16D25B5}"/>
              </a:ext>
            </a:extLst>
          </p:cNvPr>
          <p:cNvGrpSpPr/>
          <p:nvPr/>
        </p:nvGrpSpPr>
        <p:grpSpPr>
          <a:xfrm>
            <a:off x="320721" y="5309272"/>
            <a:ext cx="1771605" cy="216000"/>
            <a:chOff x="320721" y="4517211"/>
            <a:chExt cx="1771605" cy="216000"/>
          </a:xfrm>
        </p:grpSpPr>
        <p:sp>
          <p:nvSpPr>
            <p:cNvPr id="74" name="Rectangle: Rounded Corners 6">
              <a:extLst>
                <a:ext uri="{FF2B5EF4-FFF2-40B4-BE49-F238E27FC236}">
                  <a16:creationId xmlns:a16="http://schemas.microsoft.com/office/drawing/2014/main" id="{71513108-C0A0-5899-B659-6D97D01A06BD}"/>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Increase revenue</a:t>
              </a:r>
            </a:p>
          </p:txBody>
        </p:sp>
        <p:pic>
          <p:nvPicPr>
            <p:cNvPr id="75" name="Graphic 74">
              <a:extLst>
                <a:ext uri="{FF2B5EF4-FFF2-40B4-BE49-F238E27FC236}">
                  <a16:creationId xmlns:a16="http://schemas.microsoft.com/office/drawing/2014/main" id="{4652B242-3377-E2AA-9C25-DD785535541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507" y="4552645"/>
              <a:ext cx="144000" cy="141732"/>
            </a:xfrm>
            <a:prstGeom prst="rect">
              <a:avLst/>
            </a:prstGeom>
          </p:spPr>
        </p:pic>
      </p:grpSp>
      <p:grpSp>
        <p:nvGrpSpPr>
          <p:cNvPr id="76" name="Group 75">
            <a:extLst>
              <a:ext uri="{FF2B5EF4-FFF2-40B4-BE49-F238E27FC236}">
                <a16:creationId xmlns:a16="http://schemas.microsoft.com/office/drawing/2014/main" id="{D69CDF22-3A1F-C5AF-1E45-F667DE2A172B}"/>
              </a:ext>
            </a:extLst>
          </p:cNvPr>
          <p:cNvGrpSpPr/>
          <p:nvPr/>
        </p:nvGrpSpPr>
        <p:grpSpPr>
          <a:xfrm>
            <a:off x="320719" y="3778836"/>
            <a:ext cx="1771605" cy="216000"/>
            <a:chOff x="320719" y="4224856"/>
            <a:chExt cx="1771605" cy="219456"/>
          </a:xfrm>
        </p:grpSpPr>
        <p:sp>
          <p:nvSpPr>
            <p:cNvPr id="77" name="Rectangle: Rounded Corners 6">
              <a:extLst>
                <a:ext uri="{FF2B5EF4-FFF2-40B4-BE49-F238E27FC236}">
                  <a16:creationId xmlns:a16="http://schemas.microsoft.com/office/drawing/2014/main" id="{79C6F690-91D8-E275-CA40-81B1AEED146F}"/>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79" name="Graphic 78">
              <a:extLst>
                <a:ext uri="{FF2B5EF4-FFF2-40B4-BE49-F238E27FC236}">
                  <a16:creationId xmlns:a16="http://schemas.microsoft.com/office/drawing/2014/main" id="{FDC401F7-9231-6FB4-D701-D8C0004C13C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6" y="4260849"/>
              <a:ext cx="144000" cy="144000"/>
            </a:xfrm>
            <a:prstGeom prst="rect">
              <a:avLst/>
            </a:prstGeom>
          </p:spPr>
        </p:pic>
      </p:grpSp>
      <p:grpSp>
        <p:nvGrpSpPr>
          <p:cNvPr id="80" name="Group 79">
            <a:extLst>
              <a:ext uri="{FF2B5EF4-FFF2-40B4-BE49-F238E27FC236}">
                <a16:creationId xmlns:a16="http://schemas.microsoft.com/office/drawing/2014/main" id="{2F6F2E7A-D4AF-0180-50D7-28E077EC90A0}"/>
              </a:ext>
            </a:extLst>
          </p:cNvPr>
          <p:cNvGrpSpPr/>
          <p:nvPr/>
        </p:nvGrpSpPr>
        <p:grpSpPr>
          <a:xfrm>
            <a:off x="320721" y="4067450"/>
            <a:ext cx="1771605" cy="216000"/>
            <a:chOff x="320721" y="4517211"/>
            <a:chExt cx="1771605" cy="216000"/>
          </a:xfrm>
        </p:grpSpPr>
        <p:sp>
          <p:nvSpPr>
            <p:cNvPr id="81" name="Rectangle: Rounded Corners 6">
              <a:extLst>
                <a:ext uri="{FF2B5EF4-FFF2-40B4-BE49-F238E27FC236}">
                  <a16:creationId xmlns:a16="http://schemas.microsoft.com/office/drawing/2014/main" id="{22101C24-F69C-43AA-CD49-19A50B994343}"/>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onversion rate</a:t>
              </a:r>
            </a:p>
          </p:txBody>
        </p:sp>
        <p:pic>
          <p:nvPicPr>
            <p:cNvPr id="82" name="Graphic 81">
              <a:extLst>
                <a:ext uri="{FF2B5EF4-FFF2-40B4-BE49-F238E27FC236}">
                  <a16:creationId xmlns:a16="http://schemas.microsoft.com/office/drawing/2014/main" id="{F2FBFD79-CE17-551E-6C13-75190932C98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7507" y="4552645"/>
              <a:ext cx="144000" cy="141732"/>
            </a:xfrm>
            <a:prstGeom prst="rect">
              <a:avLst/>
            </a:prstGeom>
          </p:spPr>
        </p:pic>
      </p:grpSp>
      <p:sp>
        <p:nvSpPr>
          <p:cNvPr id="96" name="TextBox 95">
            <a:extLst>
              <a:ext uri="{FF2B5EF4-FFF2-40B4-BE49-F238E27FC236}">
                <a16:creationId xmlns:a16="http://schemas.microsoft.com/office/drawing/2014/main" id="{396D0A87-0798-F9FE-BC87-53767F69EB19}"/>
              </a:ext>
              <a:ext uri="{C183D7F6-B498-43B3-948B-1728B52AA6E4}">
                <adec:decorative xmlns:adec="http://schemas.microsoft.com/office/drawing/2017/decorative" val="0"/>
              </a:ext>
            </a:extLst>
          </p:cNvPr>
          <p:cNvSpPr txBox="1">
            <a:spLocks/>
          </p:cNvSpPr>
          <p:nvPr/>
        </p:nvSpPr>
        <p:spPr>
          <a:xfrm>
            <a:off x="9309271" y="4822913"/>
            <a:ext cx="2212804" cy="276999"/>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a:t>
            </a:r>
            <a:r>
              <a:rPr kumimoji="0" lang="en-US" sz="800" b="0" i="0" u="none" strike="noStrike" kern="1200" cap="none" spc="0" normalizeH="0" baseline="0" noProof="0" err="1">
                <a:ln>
                  <a:noFill/>
                </a:ln>
                <a:solidFill>
                  <a:srgbClr val="0078D4"/>
                </a:solidFill>
                <a:effectLst/>
                <a:uLnTx/>
                <a:uFillTx/>
                <a:latin typeface="Segoe UI Semibold"/>
                <a:ea typeface="+mn-ea"/>
                <a:cs typeface="+mn-cs"/>
              </a:rPr>
              <a:t>eSign</a:t>
            </a:r>
            <a:r>
              <a:rPr kumimoji="0" lang="en-US" sz="800" b="0" i="0" u="none" strike="noStrike" kern="1200" cap="none" spc="0" normalizeH="0" baseline="0" noProof="0">
                <a:ln>
                  <a:noFill/>
                </a:ln>
                <a:solidFill>
                  <a:srgbClr val="0078D4"/>
                </a:solidFill>
                <a:effectLst/>
                <a:uLnTx/>
                <a:uFillTx/>
                <a:latin typeface="Segoe UI Semibold"/>
                <a:ea typeface="+mn-ea"/>
                <a:cs typeface="+mn-cs"/>
              </a:rPr>
              <a:t> solution</a:t>
            </a:r>
          </a:p>
        </p:txBody>
      </p:sp>
      <p:pic>
        <p:nvPicPr>
          <p:cNvPr id="176" name="Picture 175">
            <a:hlinkClick r:id="rId10"/>
            <a:extLst>
              <a:ext uri="{FF2B5EF4-FFF2-40B4-BE49-F238E27FC236}">
                <a16:creationId xmlns:a16="http://schemas.microsoft.com/office/drawing/2014/main" id="{2A814443-D3B5-F618-10F0-F82419686003}"/>
              </a:ext>
              <a:ext uri="{C183D7F6-B498-43B3-948B-1728B52AA6E4}">
                <adec:decorative xmlns:adec="http://schemas.microsoft.com/office/drawing/2017/decorative" val="0"/>
              </a:ext>
            </a:extLst>
          </p:cNvPr>
          <p:cNvPicPr>
            <a:picLocks noChangeAspect="1"/>
          </p:cNvPicPr>
          <p:nvPr/>
        </p:nvPicPr>
        <p:blipFill rotWithShape="1">
          <a:blip r:embed="rId11"/>
          <a:srcRect b="3736"/>
          <a:stretch/>
        </p:blipFill>
        <p:spPr>
          <a:xfrm>
            <a:off x="8950325" y="4853435"/>
            <a:ext cx="224338" cy="215956"/>
          </a:xfrm>
          <a:prstGeom prst="rect">
            <a:avLst/>
          </a:prstGeom>
          <a:ln w="6657" cap="flat">
            <a:noFill/>
            <a:prstDash val="solid"/>
            <a:miter/>
          </a:ln>
          <a:effectLst/>
        </p:spPr>
      </p:pic>
      <p:sp>
        <p:nvSpPr>
          <p:cNvPr id="66" name="TextBox 65">
            <a:extLst>
              <a:ext uri="{FF2B5EF4-FFF2-40B4-BE49-F238E27FC236}">
                <a16:creationId xmlns:a16="http://schemas.microsoft.com/office/drawing/2014/main" id="{7E5F70E8-C94D-2426-66A7-7D82A0E611A0}"/>
              </a:ext>
              <a:ext uri="{C183D7F6-B498-43B3-948B-1728B52AA6E4}">
                <adec:decorative xmlns:adec="http://schemas.microsoft.com/office/drawing/2017/decorative" val="0"/>
              </a:ext>
            </a:extLst>
          </p:cNvPr>
          <p:cNvSpPr txBox="1">
            <a:spLocks/>
          </p:cNvSpPr>
          <p:nvPr/>
        </p:nvSpPr>
        <p:spPr>
          <a:xfrm>
            <a:off x="3552452" y="2101850"/>
            <a:ext cx="1490793" cy="4527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2</a:t>
            </a:r>
          </a:p>
        </p:txBody>
      </p:sp>
      <p:pic>
        <p:nvPicPr>
          <p:cNvPr id="67" name="Picture 50">
            <a:hlinkClick r:id="rId10"/>
            <a:extLst>
              <a:ext uri="{FF2B5EF4-FFF2-40B4-BE49-F238E27FC236}">
                <a16:creationId xmlns:a16="http://schemas.microsoft.com/office/drawing/2014/main" id="{31CEEF52-930E-8F3D-1D86-B12372D56D9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182890"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98" name="TextBox 97">
            <a:extLst>
              <a:ext uri="{FF2B5EF4-FFF2-40B4-BE49-F238E27FC236}">
                <a16:creationId xmlns:a16="http://schemas.microsoft.com/office/drawing/2014/main" id="{741334BE-C415-DF71-43B9-F41432200304}"/>
              </a:ext>
              <a:ext uri="{C183D7F6-B498-43B3-948B-1728B52AA6E4}">
                <adec:decorative xmlns:adec="http://schemas.microsoft.com/office/drawing/2017/decorative" val="0"/>
              </a:ext>
            </a:extLst>
          </p:cNvPr>
          <p:cNvSpPr txBox="1">
            <a:spLocks/>
          </p:cNvSpPr>
          <p:nvPr/>
        </p:nvSpPr>
        <p:spPr>
          <a:xfrm>
            <a:off x="9309270" y="2252978"/>
            <a:ext cx="2212805" cy="124080"/>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Supply Chain solution</a:t>
            </a:r>
          </a:p>
        </p:txBody>
      </p:sp>
      <p:pic>
        <p:nvPicPr>
          <p:cNvPr id="78" name="Picture 77">
            <a:extLst>
              <a:ext uri="{FF2B5EF4-FFF2-40B4-BE49-F238E27FC236}">
                <a16:creationId xmlns:a16="http://schemas.microsoft.com/office/drawing/2014/main" id="{D1547DD9-A426-3FEA-B13E-C4DB725F62AF}"/>
              </a:ext>
              <a:ext uri="{C183D7F6-B498-43B3-948B-1728B52AA6E4}">
                <adec:decorative xmlns:adec="http://schemas.microsoft.com/office/drawing/2017/decorative" val="0"/>
              </a:ext>
            </a:extLst>
          </p:cNvPr>
          <p:cNvPicPr>
            <a:picLocks/>
          </p:cNvPicPr>
          <p:nvPr/>
        </p:nvPicPr>
        <p:blipFill rotWithShape="1">
          <a:blip r:embed="rId11"/>
          <a:srcRect b="3736"/>
          <a:stretch/>
        </p:blipFill>
        <p:spPr>
          <a:xfrm>
            <a:off x="8950325" y="2207040"/>
            <a:ext cx="224338" cy="215956"/>
          </a:xfrm>
          <a:prstGeom prst="rect">
            <a:avLst/>
          </a:prstGeom>
          <a:ln w="6657" cap="flat">
            <a:noFill/>
            <a:prstDash val="solid"/>
            <a:miter/>
          </a:ln>
          <a:effectLst/>
        </p:spPr>
      </p:pic>
      <p:sp>
        <p:nvSpPr>
          <p:cNvPr id="87" name="TextBox 86">
            <a:extLst>
              <a:ext uri="{FF2B5EF4-FFF2-40B4-BE49-F238E27FC236}">
                <a16:creationId xmlns:a16="http://schemas.microsoft.com/office/drawing/2014/main" id="{3B2D6649-C83F-B42B-702B-F70B95F343FA}"/>
              </a:ext>
              <a:ext uri="{C183D7F6-B498-43B3-948B-1728B52AA6E4}">
                <adec:decorative xmlns:adec="http://schemas.microsoft.com/office/drawing/2017/decorative" val="0"/>
              </a:ext>
            </a:extLst>
          </p:cNvPr>
          <p:cNvSpPr txBox="1"/>
          <p:nvPr/>
        </p:nvSpPr>
        <p:spPr>
          <a:xfrm>
            <a:off x="6445284" y="2165383"/>
            <a:ext cx="1490793"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Outlook</a:t>
            </a:r>
          </a:p>
        </p:txBody>
      </p:sp>
      <p:pic>
        <p:nvPicPr>
          <p:cNvPr id="88" name="Picture 28" descr="Microsoft Outlook Logo PNG, Logo Outlook.com Transparent Images - Free ...">
            <a:extLst>
              <a:ext uri="{FF2B5EF4-FFF2-40B4-BE49-F238E27FC236}">
                <a16:creationId xmlns:a16="http://schemas.microsoft.com/office/drawing/2014/main" id="{7A4FED09-F07C-B5F7-BD33-267418E72C8B}"/>
              </a:ext>
            </a:extLst>
          </p:cNvPr>
          <p:cNvPicPr>
            <a:picLocks noChangeArrowheads="1"/>
          </p:cNvPicPr>
          <p:nvPr/>
        </p:nvPicPr>
        <p:blipFill rotWithShape="1">
          <a:blip r:embed="rId13">
            <a:extLst>
              <a:ext uri="{28A0092B-C50C-407E-A947-70E740481C1C}">
                <a14:useLocalDpi xmlns:a14="http://schemas.microsoft.com/office/drawing/2010/main" val="0"/>
              </a:ext>
            </a:extLst>
          </a:blip>
          <a:srcRect t="-3781" b="-3781"/>
          <a:stretch/>
        </p:blipFill>
        <p:spPr bwMode="auto">
          <a:xfrm>
            <a:off x="6067425" y="2216652"/>
            <a:ext cx="223150" cy="223150"/>
          </a:xfrm>
          <a:prstGeom prst="rect">
            <a:avLst/>
          </a:prstGeom>
          <a:noFill/>
          <a:extLst>
            <a:ext uri="{909E8E84-426E-40DD-AFC4-6F175D3DCCD1}">
              <a14:hiddenFill xmlns:a14="http://schemas.microsoft.com/office/drawing/2010/main">
                <a:solidFill>
                  <a:srgbClr val="FFFFFF"/>
                </a:solidFill>
              </a14:hiddenFill>
            </a:ext>
          </a:extLst>
        </p:spPr>
      </p:pic>
      <p:sp>
        <p:nvSpPr>
          <p:cNvPr id="172" name="TextBox 171">
            <a:extLst>
              <a:ext uri="{FF2B5EF4-FFF2-40B4-BE49-F238E27FC236}">
                <a16:creationId xmlns:a16="http://schemas.microsoft.com/office/drawing/2014/main" id="{93FB8DA4-0B45-C0E4-556E-2E018FB023DB}"/>
              </a:ext>
              <a:ext uri="{C183D7F6-B498-43B3-948B-1728B52AA6E4}">
                <adec:decorative xmlns:adec="http://schemas.microsoft.com/office/drawing/2017/decorative" val="0"/>
              </a:ext>
            </a:extLst>
          </p:cNvPr>
          <p:cNvSpPr txBox="1"/>
          <p:nvPr/>
        </p:nvSpPr>
        <p:spPr>
          <a:xfrm>
            <a:off x="3567890" y="4913636"/>
            <a:ext cx="2209629" cy="69136"/>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Supply Chain solution</a:t>
            </a:r>
          </a:p>
        </p:txBody>
      </p:sp>
      <p:pic>
        <p:nvPicPr>
          <p:cNvPr id="92" name="Picture 91">
            <a:extLst>
              <a:ext uri="{FF2B5EF4-FFF2-40B4-BE49-F238E27FC236}">
                <a16:creationId xmlns:a16="http://schemas.microsoft.com/office/drawing/2014/main" id="{69D6A7CF-A9A9-6841-9CAC-A7C87D55F8E0}"/>
              </a:ext>
              <a:ext uri="{C183D7F6-B498-43B3-948B-1728B52AA6E4}">
                <adec:decorative xmlns:adec="http://schemas.microsoft.com/office/drawing/2017/decorative" val="0"/>
              </a:ext>
            </a:extLst>
          </p:cNvPr>
          <p:cNvPicPr>
            <a:picLocks noChangeAspect="1"/>
          </p:cNvPicPr>
          <p:nvPr/>
        </p:nvPicPr>
        <p:blipFill rotWithShape="1">
          <a:blip r:embed="rId11"/>
          <a:srcRect b="3736"/>
          <a:stretch/>
        </p:blipFill>
        <p:spPr>
          <a:xfrm>
            <a:off x="3182938" y="4840226"/>
            <a:ext cx="224338" cy="215956"/>
          </a:xfrm>
          <a:prstGeom prst="rect">
            <a:avLst/>
          </a:prstGeom>
          <a:ln w="6657" cap="flat">
            <a:noFill/>
            <a:prstDash val="solid"/>
            <a:miter/>
          </a:ln>
          <a:effectLst/>
        </p:spPr>
      </p:pic>
      <p:pic>
        <p:nvPicPr>
          <p:cNvPr id="93" name="Picture 50">
            <a:hlinkClick r:id="rId10"/>
            <a:extLst>
              <a:ext uri="{FF2B5EF4-FFF2-40B4-BE49-F238E27FC236}">
                <a16:creationId xmlns:a16="http://schemas.microsoft.com/office/drawing/2014/main" id="{CC78959A-3612-8DCE-57DF-824D1EE644F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57220" y="4840702"/>
            <a:ext cx="241516" cy="215956"/>
          </a:xfrm>
          <a:prstGeom prst="rect">
            <a:avLst/>
          </a:prstGeom>
          <a:noFill/>
          <a:extLst>
            <a:ext uri="{909E8E84-426E-40DD-AFC4-6F175D3DCCD1}">
              <a14:hiddenFill xmlns:a14="http://schemas.microsoft.com/office/drawing/2010/main">
                <a:solidFill>
                  <a:srgbClr val="FFFFFF"/>
                </a:solidFill>
              </a14:hiddenFill>
            </a:ext>
          </a:extLst>
        </p:spPr>
      </p:pic>
      <p:sp>
        <p:nvSpPr>
          <p:cNvPr id="94" name="TextBox 93">
            <a:extLst>
              <a:ext uri="{FF2B5EF4-FFF2-40B4-BE49-F238E27FC236}">
                <a16:creationId xmlns:a16="http://schemas.microsoft.com/office/drawing/2014/main" id="{1E0BB371-45B6-1B31-DE97-DB3D700BB518}"/>
              </a:ext>
              <a:ext uri="{C183D7F6-B498-43B3-948B-1728B52AA6E4}">
                <adec:decorative xmlns:adec="http://schemas.microsoft.com/office/drawing/2017/decorative" val="0"/>
              </a:ext>
            </a:extLst>
          </p:cNvPr>
          <p:cNvSpPr txBox="1"/>
          <p:nvPr/>
        </p:nvSpPr>
        <p:spPr>
          <a:xfrm>
            <a:off x="6445284" y="4871260"/>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spTree>
    <p:extLst>
      <p:ext uri="{BB962C8B-B14F-4D97-AF65-F5344CB8AC3E}">
        <p14:creationId xmlns:p14="http://schemas.microsoft.com/office/powerpoint/2010/main" val="397543467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6CD0B5-3425-74B7-87E7-499A78BC90C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308CD7A-A8DE-8B8A-792C-C0026B7E66C6}"/>
              </a:ext>
            </a:extLst>
          </p:cNvPr>
          <p:cNvSpPr>
            <a:spLocks noGrp="1"/>
          </p:cNvSpPr>
          <p:nvPr>
            <p:ph type="title"/>
          </p:nvPr>
        </p:nvSpPr>
        <p:spPr/>
        <p:txBody>
          <a:bodyPr/>
          <a:lstStyle/>
          <a:p>
            <a:r>
              <a:rPr lang="en-US" noProof="0" dirty="0"/>
              <a:t>Fashion design a</a:t>
            </a:r>
            <a:r>
              <a:rPr lang="en-US" dirty="0"/>
              <a:t>gent</a:t>
            </a:r>
            <a:endParaRPr lang="en-US" noProof="0" dirty="0"/>
          </a:p>
        </p:txBody>
      </p:sp>
      <p:sp>
        <p:nvSpPr>
          <p:cNvPr id="23" name="Text Placeholder 22">
            <a:extLst>
              <a:ext uri="{FF2B5EF4-FFF2-40B4-BE49-F238E27FC236}">
                <a16:creationId xmlns:a16="http://schemas.microsoft.com/office/drawing/2014/main" id="{3AA19DDE-FCE9-C79A-C90E-640D8B3AFA53}"/>
              </a:ext>
            </a:extLst>
          </p:cNvPr>
          <p:cNvSpPr>
            <a:spLocks noGrp="1"/>
          </p:cNvSpPr>
          <p:nvPr>
            <p:ph type="body" sz="quarter" idx="33"/>
          </p:nvPr>
        </p:nvSpPr>
        <p:spPr/>
        <p:txBody>
          <a:bodyPr/>
          <a:lstStyle/>
          <a:p>
            <a:r>
              <a:rPr lang="en-US" noProof="0" dirty="0"/>
              <a:t>Retail</a:t>
            </a:r>
          </a:p>
        </p:txBody>
      </p:sp>
      <p:sp>
        <p:nvSpPr>
          <p:cNvPr id="5" name="Text Placeholder 4">
            <a:extLst>
              <a:ext uri="{FF2B5EF4-FFF2-40B4-BE49-F238E27FC236}">
                <a16:creationId xmlns:a16="http://schemas.microsoft.com/office/drawing/2014/main" id="{5AC820CB-E72A-70B5-159C-A4FE0D7AC224}"/>
              </a:ext>
            </a:extLst>
          </p:cNvPr>
          <p:cNvSpPr>
            <a:spLocks noGrp="1"/>
          </p:cNvSpPr>
          <p:nvPr>
            <p:ph type="body" sz="quarter" idx="44"/>
          </p:nvPr>
        </p:nvSpPr>
        <p:spPr>
          <a:xfrm>
            <a:off x="6637373" y="521100"/>
            <a:ext cx="3481672" cy="338554"/>
          </a:xfrm>
        </p:spPr>
        <p:txBody>
          <a:bodyPr/>
          <a:lstStyle/>
          <a:p>
            <a:r>
              <a:rPr lang="en-US" dirty="0"/>
              <a:t>Microsoft 365 Copilot Chat and </a:t>
            </a:r>
            <a:r>
              <a:rPr lang="en-US" noProof="0" dirty="0"/>
              <a:t>Azure AI Foundry</a:t>
            </a:r>
          </a:p>
        </p:txBody>
      </p:sp>
      <p:sp>
        <p:nvSpPr>
          <p:cNvPr id="4" name="Text Placeholder 3">
            <a:extLst>
              <a:ext uri="{FF2B5EF4-FFF2-40B4-BE49-F238E27FC236}">
                <a16:creationId xmlns:a16="http://schemas.microsoft.com/office/drawing/2014/main" id="{0B747894-6D20-6A37-554D-C8ADD5C8BCFD}"/>
              </a:ext>
            </a:extLst>
          </p:cNvPr>
          <p:cNvSpPr>
            <a:spLocks noGrp="1"/>
          </p:cNvSpPr>
          <p:nvPr>
            <p:ph type="body" sz="quarter" idx="43"/>
          </p:nvPr>
        </p:nvSpPr>
        <p:spPr/>
        <p:txBody>
          <a:bodyPr/>
          <a:lstStyle/>
          <a:p>
            <a:r>
              <a:rPr lang="en-US" dirty="0"/>
              <a:t>Build</a:t>
            </a:r>
          </a:p>
        </p:txBody>
      </p:sp>
      <p:sp>
        <p:nvSpPr>
          <p:cNvPr id="2" name="Text Placeholder 1">
            <a:extLst>
              <a:ext uri="{FF2B5EF4-FFF2-40B4-BE49-F238E27FC236}">
                <a16:creationId xmlns:a16="http://schemas.microsoft.com/office/drawing/2014/main" id="{D7933EA3-FC1C-F402-89A4-C7DE1BE00C59}"/>
              </a:ext>
            </a:extLst>
          </p:cNvPr>
          <p:cNvSpPr>
            <a:spLocks noGrp="1"/>
          </p:cNvSpPr>
          <p:nvPr>
            <p:ph type="body" sz="quarter" idx="42"/>
          </p:nvPr>
        </p:nvSpPr>
        <p:spPr/>
        <p:txBody>
          <a:bodyPr/>
          <a:lstStyle/>
          <a:p>
            <a:r>
              <a:rPr lang="en-US" noProof="0" dirty="0"/>
              <a:t>AI can help fashion designers identify trends and design new collections as well as assess demand to size production runs accurately.</a:t>
            </a:r>
          </a:p>
          <a:p>
            <a:endParaRPr lang="en-US" noProof="0" dirty="0"/>
          </a:p>
          <a:p>
            <a:r>
              <a:rPr lang="en-US" sz="1050" noProof="0" dirty="0">
                <a:latin typeface="+mj-lt"/>
              </a:rPr>
              <a:t>Customer reference: </a:t>
            </a:r>
            <a:r>
              <a:rPr lang="en-US" sz="1050" noProof="0" dirty="0" err="1">
                <a:hlinkClick r:id="rId2"/>
              </a:rPr>
              <a:t>Fashable</a:t>
            </a:r>
            <a:r>
              <a:rPr lang="en-US" sz="1050" noProof="0" dirty="0">
                <a:hlinkClick r:id="rId2"/>
              </a:rPr>
              <a:t> reimagines the future of fashion design</a:t>
            </a:r>
            <a:endParaRPr lang="en-US" sz="1050" noProof="0" dirty="0"/>
          </a:p>
          <a:p>
            <a:endParaRPr lang="en-US" noProof="0" dirty="0"/>
          </a:p>
        </p:txBody>
      </p:sp>
      <p:sp>
        <p:nvSpPr>
          <p:cNvPr id="18" name="Text Placeholder 17">
            <a:extLst>
              <a:ext uri="{FF2B5EF4-FFF2-40B4-BE49-F238E27FC236}">
                <a16:creationId xmlns:a16="http://schemas.microsoft.com/office/drawing/2014/main" id="{6A6B0C32-56F6-F268-FADD-CCB75FCC69C7}"/>
              </a:ext>
            </a:extLst>
          </p:cNvPr>
          <p:cNvSpPr>
            <a:spLocks noGrp="1"/>
          </p:cNvSpPr>
          <p:nvPr>
            <p:ph type="body" sz="quarter" idx="65"/>
          </p:nvPr>
        </p:nvSpPr>
        <p:spPr/>
        <p:txBody>
          <a:bodyPr/>
          <a:lstStyle/>
          <a:p>
            <a:r>
              <a:rPr lang="en-US" noProof="0" dirty="0"/>
              <a:t>KPIs impacted</a:t>
            </a:r>
          </a:p>
        </p:txBody>
      </p:sp>
      <p:sp>
        <p:nvSpPr>
          <p:cNvPr id="17" name="Text Placeholder 16">
            <a:extLst>
              <a:ext uri="{FF2B5EF4-FFF2-40B4-BE49-F238E27FC236}">
                <a16:creationId xmlns:a16="http://schemas.microsoft.com/office/drawing/2014/main" id="{D13E5A9B-5C08-5C32-0937-EAAD7B2B2BE1}"/>
              </a:ext>
            </a:extLst>
          </p:cNvPr>
          <p:cNvSpPr>
            <a:spLocks noGrp="1"/>
          </p:cNvSpPr>
          <p:nvPr>
            <p:ph type="body" sz="quarter" idx="64"/>
          </p:nvPr>
        </p:nvSpPr>
        <p:spPr/>
        <p:txBody>
          <a:bodyPr/>
          <a:lstStyle/>
          <a:p>
            <a:r>
              <a:rPr lang="en-US" noProof="0" dirty="0"/>
              <a:t>Value benefit</a:t>
            </a:r>
          </a:p>
        </p:txBody>
      </p:sp>
      <p:sp>
        <p:nvSpPr>
          <p:cNvPr id="7" name="Text Placeholder 6">
            <a:extLst>
              <a:ext uri="{FF2B5EF4-FFF2-40B4-BE49-F238E27FC236}">
                <a16:creationId xmlns:a16="http://schemas.microsoft.com/office/drawing/2014/main" id="{AEB55B76-2248-DA5A-13D2-B39BAE7C1551}"/>
              </a:ext>
            </a:extLst>
          </p:cNvPr>
          <p:cNvSpPr>
            <a:spLocks noGrp="1"/>
          </p:cNvSpPr>
          <p:nvPr>
            <p:ph type="body" sz="quarter" idx="47"/>
          </p:nvPr>
        </p:nvSpPr>
        <p:spPr/>
        <p:txBody>
          <a:bodyPr/>
          <a:lstStyle/>
          <a:p>
            <a:r>
              <a:rPr lang="en-US" dirty="0"/>
              <a:t>Scan fashion data</a:t>
            </a:r>
            <a:endParaRPr lang="en-US" noProof="0" dirty="0"/>
          </a:p>
        </p:txBody>
      </p:sp>
      <p:sp>
        <p:nvSpPr>
          <p:cNvPr id="8" name="Text Placeholder 7">
            <a:extLst>
              <a:ext uri="{FF2B5EF4-FFF2-40B4-BE49-F238E27FC236}">
                <a16:creationId xmlns:a16="http://schemas.microsoft.com/office/drawing/2014/main" id="{72F3702B-52FC-21E9-EBEB-506028D9B956}"/>
              </a:ext>
            </a:extLst>
          </p:cNvPr>
          <p:cNvSpPr>
            <a:spLocks noGrp="1"/>
          </p:cNvSpPr>
          <p:nvPr>
            <p:ph type="body" sz="quarter" idx="48"/>
          </p:nvPr>
        </p:nvSpPr>
        <p:spPr/>
        <p:txBody>
          <a:bodyPr/>
          <a:lstStyle/>
          <a:p>
            <a:r>
              <a:rPr lang="en-US" b="0" i="0" dirty="0">
                <a:solidFill>
                  <a:srgbClr val="17253D"/>
                </a:solidFill>
                <a:effectLst/>
                <a:latin typeface="Segoe UI Variable Text" pitchFamily="2" charset="0"/>
              </a:rPr>
              <a:t>Ingest data from multiple sources like social media or commerce and retail sites to learn about trends, styles, and clothing types.</a:t>
            </a:r>
            <a:endParaRPr lang="en-US" noProof="0" dirty="0"/>
          </a:p>
        </p:txBody>
      </p:sp>
      <p:sp>
        <p:nvSpPr>
          <p:cNvPr id="6" name="Text Placeholder 5">
            <a:extLst>
              <a:ext uri="{FF2B5EF4-FFF2-40B4-BE49-F238E27FC236}">
                <a16:creationId xmlns:a16="http://schemas.microsoft.com/office/drawing/2014/main" id="{1DA179AD-9EC2-E62F-0100-6351C6CB7547}"/>
              </a:ext>
            </a:extLst>
          </p:cNvPr>
          <p:cNvSpPr>
            <a:spLocks noGrp="1"/>
          </p:cNvSpPr>
          <p:nvPr>
            <p:ph type="body" sz="quarter" idx="46"/>
          </p:nvPr>
        </p:nvSpPr>
        <p:spPr/>
        <p:txBody>
          <a:bodyPr/>
          <a:lstStyle/>
          <a:p>
            <a:r>
              <a:rPr lang="en-US" noProof="0" dirty="0"/>
              <a:t>Benefit: Get up to date on fashion trends in minutes.</a:t>
            </a:r>
          </a:p>
        </p:txBody>
      </p:sp>
      <p:sp>
        <p:nvSpPr>
          <p:cNvPr id="9" name="Text Placeholder 8">
            <a:extLst>
              <a:ext uri="{FF2B5EF4-FFF2-40B4-BE49-F238E27FC236}">
                <a16:creationId xmlns:a16="http://schemas.microsoft.com/office/drawing/2014/main" id="{A6089F52-AC1E-6900-0FA8-BDC3A828E718}"/>
              </a:ext>
            </a:extLst>
          </p:cNvPr>
          <p:cNvSpPr>
            <a:spLocks noGrp="1"/>
          </p:cNvSpPr>
          <p:nvPr>
            <p:ph type="body" sz="quarter" idx="49"/>
          </p:nvPr>
        </p:nvSpPr>
        <p:spPr/>
        <p:txBody>
          <a:bodyPr/>
          <a:lstStyle/>
          <a:p>
            <a:r>
              <a:rPr lang="en-US" dirty="0"/>
              <a:t>Use trends to create new designs</a:t>
            </a:r>
            <a:endParaRPr lang="en-US" noProof="0" dirty="0"/>
          </a:p>
        </p:txBody>
      </p:sp>
      <p:sp>
        <p:nvSpPr>
          <p:cNvPr id="10" name="Text Placeholder 9">
            <a:extLst>
              <a:ext uri="{FF2B5EF4-FFF2-40B4-BE49-F238E27FC236}">
                <a16:creationId xmlns:a16="http://schemas.microsoft.com/office/drawing/2014/main" id="{A5028D48-9786-1089-8B4D-81FC9C7B1D22}"/>
              </a:ext>
            </a:extLst>
          </p:cNvPr>
          <p:cNvSpPr>
            <a:spLocks noGrp="1"/>
          </p:cNvSpPr>
          <p:nvPr>
            <p:ph type="body" sz="quarter" idx="50"/>
          </p:nvPr>
        </p:nvSpPr>
        <p:spPr/>
        <p:txBody>
          <a:bodyPr/>
          <a:lstStyle/>
          <a:p>
            <a:r>
              <a:rPr lang="en-US" noProof="0" dirty="0"/>
              <a:t>Create a new fashion line in minutes with the ability to update</a:t>
            </a:r>
            <a:r>
              <a:rPr lang="en-US" b="0" i="0" dirty="0">
                <a:solidFill>
                  <a:srgbClr val="17253D"/>
                </a:solidFill>
                <a:effectLst/>
                <a:latin typeface="Segoe UI Variable Text" pitchFamily="2" charset="0"/>
              </a:rPr>
              <a:t> the digital design in real-time, like shortening the sleeves of a dress or changing a pattern from stripes to polka dots.</a:t>
            </a:r>
            <a:endParaRPr lang="en-US" noProof="0" dirty="0"/>
          </a:p>
        </p:txBody>
      </p:sp>
      <p:sp>
        <p:nvSpPr>
          <p:cNvPr id="19" name="Text Placeholder 18">
            <a:extLst>
              <a:ext uri="{FF2B5EF4-FFF2-40B4-BE49-F238E27FC236}">
                <a16:creationId xmlns:a16="http://schemas.microsoft.com/office/drawing/2014/main" id="{3DD7C128-5A10-FDDC-E6D6-6DFAE6377E71}"/>
              </a:ext>
            </a:extLst>
          </p:cNvPr>
          <p:cNvSpPr>
            <a:spLocks noGrp="1"/>
          </p:cNvSpPr>
          <p:nvPr>
            <p:ph type="body" sz="quarter" idx="66"/>
          </p:nvPr>
        </p:nvSpPr>
        <p:spPr/>
        <p:txBody>
          <a:bodyPr/>
          <a:lstStyle/>
          <a:p>
            <a:r>
              <a:rPr lang="en-US" noProof="0" dirty="0"/>
              <a:t>Benefit: Speed time to market and reduce the waste of using actual materials to create new designs.</a:t>
            </a:r>
          </a:p>
        </p:txBody>
      </p:sp>
      <p:sp>
        <p:nvSpPr>
          <p:cNvPr id="11" name="Text Placeholder 10">
            <a:extLst>
              <a:ext uri="{FF2B5EF4-FFF2-40B4-BE49-F238E27FC236}">
                <a16:creationId xmlns:a16="http://schemas.microsoft.com/office/drawing/2014/main" id="{11874596-8FB2-976A-C701-7AD022F2BB9C}"/>
              </a:ext>
            </a:extLst>
          </p:cNvPr>
          <p:cNvSpPr>
            <a:spLocks noGrp="1"/>
          </p:cNvSpPr>
          <p:nvPr>
            <p:ph type="body" sz="quarter" idx="52"/>
          </p:nvPr>
        </p:nvSpPr>
        <p:spPr/>
        <p:txBody>
          <a:bodyPr/>
          <a:lstStyle/>
          <a:p>
            <a:r>
              <a:rPr lang="en-US" noProof="0" dirty="0"/>
              <a:t>Create social media posts</a:t>
            </a:r>
          </a:p>
        </p:txBody>
      </p:sp>
      <p:sp>
        <p:nvSpPr>
          <p:cNvPr id="12" name="Text Placeholder 11">
            <a:extLst>
              <a:ext uri="{FF2B5EF4-FFF2-40B4-BE49-F238E27FC236}">
                <a16:creationId xmlns:a16="http://schemas.microsoft.com/office/drawing/2014/main" id="{81B2A389-677F-4F7D-39D7-66F498CBEC20}"/>
              </a:ext>
            </a:extLst>
          </p:cNvPr>
          <p:cNvSpPr>
            <a:spLocks noGrp="1"/>
          </p:cNvSpPr>
          <p:nvPr>
            <p:ph type="body" sz="quarter" idx="53"/>
          </p:nvPr>
        </p:nvSpPr>
        <p:spPr/>
        <p:txBody>
          <a:bodyPr/>
          <a:lstStyle/>
          <a:p>
            <a:r>
              <a:rPr lang="en-US" noProof="0" dirty="0"/>
              <a:t>Use Copilot to create social media posts to A/B test the new designs and gather feedback.</a:t>
            </a:r>
          </a:p>
        </p:txBody>
      </p:sp>
      <p:sp>
        <p:nvSpPr>
          <p:cNvPr id="20" name="Text Placeholder 19">
            <a:extLst>
              <a:ext uri="{FF2B5EF4-FFF2-40B4-BE49-F238E27FC236}">
                <a16:creationId xmlns:a16="http://schemas.microsoft.com/office/drawing/2014/main" id="{B76FE99B-8B5D-ED53-2379-8715C6C49A93}"/>
              </a:ext>
            </a:extLst>
          </p:cNvPr>
          <p:cNvSpPr>
            <a:spLocks noGrp="1"/>
          </p:cNvSpPr>
          <p:nvPr>
            <p:ph type="body" sz="quarter" idx="67"/>
          </p:nvPr>
        </p:nvSpPr>
        <p:spPr/>
        <p:txBody>
          <a:bodyPr/>
          <a:lstStyle/>
          <a:p>
            <a:r>
              <a:rPr lang="en-US" noProof="0" dirty="0"/>
              <a:t>Benefit: Quickly generate posts and analyze customer feedback</a:t>
            </a:r>
          </a:p>
        </p:txBody>
      </p:sp>
      <p:sp>
        <p:nvSpPr>
          <p:cNvPr id="15" name="Text Placeholder 14">
            <a:extLst>
              <a:ext uri="{FF2B5EF4-FFF2-40B4-BE49-F238E27FC236}">
                <a16:creationId xmlns:a16="http://schemas.microsoft.com/office/drawing/2014/main" id="{FF76C2BF-A048-72B4-026D-16492A57BE04}"/>
              </a:ext>
            </a:extLst>
          </p:cNvPr>
          <p:cNvSpPr>
            <a:spLocks noGrp="1"/>
          </p:cNvSpPr>
          <p:nvPr>
            <p:ph type="body" sz="quarter" idx="61"/>
          </p:nvPr>
        </p:nvSpPr>
        <p:spPr/>
        <p:txBody>
          <a:bodyPr/>
          <a:lstStyle/>
          <a:p>
            <a:r>
              <a:rPr lang="en-US" noProof="0" dirty="0"/>
              <a:t>Analyze feedback</a:t>
            </a:r>
          </a:p>
        </p:txBody>
      </p:sp>
      <p:sp>
        <p:nvSpPr>
          <p:cNvPr id="16" name="Text Placeholder 15">
            <a:extLst>
              <a:ext uri="{FF2B5EF4-FFF2-40B4-BE49-F238E27FC236}">
                <a16:creationId xmlns:a16="http://schemas.microsoft.com/office/drawing/2014/main" id="{C1C164E7-7D9D-F9CA-C0CB-F2D108586D20}"/>
              </a:ext>
            </a:extLst>
          </p:cNvPr>
          <p:cNvSpPr>
            <a:spLocks noGrp="1"/>
          </p:cNvSpPr>
          <p:nvPr>
            <p:ph type="body" sz="quarter" idx="62"/>
          </p:nvPr>
        </p:nvSpPr>
        <p:spPr/>
        <p:txBody>
          <a:bodyPr/>
          <a:lstStyle/>
          <a:p>
            <a:r>
              <a:rPr lang="en-US" noProof="0" dirty="0"/>
              <a:t>Use the feedback from the social posts to redesign the collection and forecast demand.</a:t>
            </a:r>
          </a:p>
        </p:txBody>
      </p:sp>
      <p:sp>
        <p:nvSpPr>
          <p:cNvPr id="22" name="Text Placeholder 21">
            <a:extLst>
              <a:ext uri="{FF2B5EF4-FFF2-40B4-BE49-F238E27FC236}">
                <a16:creationId xmlns:a16="http://schemas.microsoft.com/office/drawing/2014/main" id="{0D269215-FB12-EF1C-AB94-5DDA87950A0C}"/>
              </a:ext>
            </a:extLst>
          </p:cNvPr>
          <p:cNvSpPr>
            <a:spLocks noGrp="1"/>
          </p:cNvSpPr>
          <p:nvPr>
            <p:ph type="body" sz="quarter" idx="69"/>
          </p:nvPr>
        </p:nvSpPr>
        <p:spPr/>
        <p:txBody>
          <a:bodyPr/>
          <a:lstStyle/>
          <a:p>
            <a:r>
              <a:rPr lang="en-US" noProof="0" dirty="0"/>
              <a:t>Benefit</a:t>
            </a:r>
            <a:r>
              <a:rPr lang="en-US" dirty="0"/>
              <a:t>: Translate feedback into new designs in minutes and assess demand to size production runs accurately to avoid waste.</a:t>
            </a:r>
            <a:endParaRPr lang="en-US" noProof="0" dirty="0"/>
          </a:p>
        </p:txBody>
      </p:sp>
      <p:sp>
        <p:nvSpPr>
          <p:cNvPr id="13" name="Text Placeholder 12">
            <a:extLst>
              <a:ext uri="{FF2B5EF4-FFF2-40B4-BE49-F238E27FC236}">
                <a16:creationId xmlns:a16="http://schemas.microsoft.com/office/drawing/2014/main" id="{9FBBF9BC-6057-C653-BE2C-13D6CFC97C45}"/>
              </a:ext>
            </a:extLst>
          </p:cNvPr>
          <p:cNvSpPr>
            <a:spLocks noGrp="1"/>
          </p:cNvSpPr>
          <p:nvPr>
            <p:ph type="body" sz="quarter" idx="58"/>
          </p:nvPr>
        </p:nvSpPr>
        <p:spPr/>
        <p:txBody>
          <a:bodyPr/>
          <a:lstStyle/>
          <a:p>
            <a:r>
              <a:rPr lang="en-US" noProof="0" dirty="0"/>
              <a:t>Finalize the designs</a:t>
            </a:r>
          </a:p>
        </p:txBody>
      </p:sp>
      <p:sp>
        <p:nvSpPr>
          <p:cNvPr id="14" name="Text Placeholder 13">
            <a:extLst>
              <a:ext uri="{FF2B5EF4-FFF2-40B4-BE49-F238E27FC236}">
                <a16:creationId xmlns:a16="http://schemas.microsoft.com/office/drawing/2014/main" id="{4580C267-F6AD-D1DA-306F-B8AE7A2EB66F}"/>
              </a:ext>
            </a:extLst>
          </p:cNvPr>
          <p:cNvSpPr>
            <a:spLocks noGrp="1"/>
          </p:cNvSpPr>
          <p:nvPr>
            <p:ph type="body" sz="quarter" idx="59"/>
          </p:nvPr>
        </p:nvSpPr>
        <p:spPr/>
        <p:txBody>
          <a:bodyPr/>
          <a:lstStyle/>
          <a:p>
            <a:r>
              <a:rPr lang="en-US" noProof="0" dirty="0"/>
              <a:t>Create the final templates for production.</a:t>
            </a:r>
          </a:p>
        </p:txBody>
      </p:sp>
      <p:sp>
        <p:nvSpPr>
          <p:cNvPr id="21" name="Text Placeholder 20">
            <a:extLst>
              <a:ext uri="{FF2B5EF4-FFF2-40B4-BE49-F238E27FC236}">
                <a16:creationId xmlns:a16="http://schemas.microsoft.com/office/drawing/2014/main" id="{03DEA2AA-45AC-47E5-6177-75143F577727}"/>
              </a:ext>
            </a:extLst>
          </p:cNvPr>
          <p:cNvSpPr>
            <a:spLocks noGrp="1"/>
          </p:cNvSpPr>
          <p:nvPr>
            <p:ph type="body" sz="quarter" idx="68"/>
          </p:nvPr>
        </p:nvSpPr>
        <p:spPr/>
        <p:txBody>
          <a:bodyPr/>
          <a:lstStyle/>
          <a:p>
            <a:r>
              <a:rPr lang="en-US" noProof="0" dirty="0"/>
              <a:t>Benefit: The app can translate the designs into production templates.</a:t>
            </a:r>
          </a:p>
        </p:txBody>
      </p:sp>
      <p:grpSp>
        <p:nvGrpSpPr>
          <p:cNvPr id="24" name="Group 23">
            <a:extLst>
              <a:ext uri="{FF2B5EF4-FFF2-40B4-BE49-F238E27FC236}">
                <a16:creationId xmlns:a16="http://schemas.microsoft.com/office/drawing/2014/main" id="{BB73936A-670A-5E55-45E9-27FF7C94E35A}"/>
              </a:ext>
            </a:extLst>
          </p:cNvPr>
          <p:cNvGrpSpPr/>
          <p:nvPr/>
        </p:nvGrpSpPr>
        <p:grpSpPr>
          <a:xfrm>
            <a:off x="320719" y="3778836"/>
            <a:ext cx="1771607" cy="504622"/>
            <a:chOff x="320719" y="4228589"/>
            <a:chExt cx="1771607" cy="504622"/>
          </a:xfrm>
        </p:grpSpPr>
        <p:grpSp>
          <p:nvGrpSpPr>
            <p:cNvPr id="25" name="Group 24">
              <a:extLst>
                <a:ext uri="{FF2B5EF4-FFF2-40B4-BE49-F238E27FC236}">
                  <a16:creationId xmlns:a16="http://schemas.microsoft.com/office/drawing/2014/main" id="{5FF5B6AE-B58B-ADF0-3511-26224C3DC2C0}"/>
                </a:ext>
              </a:extLst>
            </p:cNvPr>
            <p:cNvGrpSpPr/>
            <p:nvPr/>
          </p:nvGrpSpPr>
          <p:grpSpPr>
            <a:xfrm>
              <a:off x="320719" y="4228589"/>
              <a:ext cx="1771605" cy="216000"/>
              <a:chOff x="320719" y="4224848"/>
              <a:chExt cx="1771605" cy="219456"/>
            </a:xfrm>
          </p:grpSpPr>
          <p:sp>
            <p:nvSpPr>
              <p:cNvPr id="29" name="Rectangle: Rounded Corners 6">
                <a:extLst>
                  <a:ext uri="{FF2B5EF4-FFF2-40B4-BE49-F238E27FC236}">
                    <a16:creationId xmlns:a16="http://schemas.microsoft.com/office/drawing/2014/main" id="{8D4CFBAC-F8CD-D1A4-6809-1A0B9509FEF5}"/>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defTabSz="932742">
                  <a:lnSpc>
                    <a:spcPct val="100000"/>
                  </a:lnSpc>
                  <a:defRPr/>
                </a:pPr>
                <a:r>
                  <a:rPr lang="en-US" sz="900" noProof="0" dirty="0">
                    <a:solidFill>
                      <a:srgbClr val="0078D4"/>
                    </a:solidFill>
                    <a:latin typeface="+mj-lt"/>
                    <a:cs typeface="Segoe UI Semibold" panose="020B0702040204020203" pitchFamily="34" charset="0"/>
                  </a:rPr>
                  <a:t>Time to market</a:t>
                </a:r>
              </a:p>
            </p:txBody>
          </p:sp>
          <p:pic>
            <p:nvPicPr>
              <p:cNvPr id="30" name="Graphic 29">
                <a:extLst>
                  <a:ext uri="{FF2B5EF4-FFF2-40B4-BE49-F238E27FC236}">
                    <a16:creationId xmlns:a16="http://schemas.microsoft.com/office/drawing/2014/main" id="{C20AFC7A-B2BE-AD77-6AA4-506B20D7796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7506" y="4260849"/>
                <a:ext cx="144000" cy="144000"/>
              </a:xfrm>
              <a:prstGeom prst="rect">
                <a:avLst/>
              </a:prstGeom>
            </p:spPr>
          </p:pic>
        </p:grpSp>
        <p:grpSp>
          <p:nvGrpSpPr>
            <p:cNvPr id="26" name="Group 25">
              <a:extLst>
                <a:ext uri="{FF2B5EF4-FFF2-40B4-BE49-F238E27FC236}">
                  <a16:creationId xmlns:a16="http://schemas.microsoft.com/office/drawing/2014/main" id="{6927A079-ECE8-40FB-E9EB-A3B776E3A569}"/>
                </a:ext>
              </a:extLst>
            </p:cNvPr>
            <p:cNvGrpSpPr/>
            <p:nvPr/>
          </p:nvGrpSpPr>
          <p:grpSpPr>
            <a:xfrm>
              <a:off x="320721" y="4517211"/>
              <a:ext cx="1771605" cy="216000"/>
              <a:chOff x="320721" y="4517211"/>
              <a:chExt cx="1771605" cy="216000"/>
            </a:xfrm>
          </p:grpSpPr>
          <p:sp>
            <p:nvSpPr>
              <p:cNvPr id="27" name="Rectangle: Rounded Corners 6">
                <a:extLst>
                  <a:ext uri="{FF2B5EF4-FFF2-40B4-BE49-F238E27FC236}">
                    <a16:creationId xmlns:a16="http://schemas.microsoft.com/office/drawing/2014/main" id="{CEC05D63-2074-1B19-F9D8-7A342930F55F}"/>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defTabSz="932742">
                  <a:defRPr/>
                </a:pPr>
                <a:r>
                  <a:rPr lang="en-US" sz="900" noProof="0" dirty="0">
                    <a:solidFill>
                      <a:srgbClr val="0078D4"/>
                    </a:solidFill>
                    <a:latin typeface="Segoe UI Semibold"/>
                    <a:cs typeface="Segoe UI Semibold"/>
                  </a:rPr>
                  <a:t>Customer satisfaction</a:t>
                </a:r>
              </a:p>
            </p:txBody>
          </p:sp>
          <p:pic>
            <p:nvPicPr>
              <p:cNvPr id="28" name="Graphic 27">
                <a:extLst>
                  <a:ext uri="{FF2B5EF4-FFF2-40B4-BE49-F238E27FC236}">
                    <a16:creationId xmlns:a16="http://schemas.microsoft.com/office/drawing/2014/main" id="{AB0D2819-6C39-C3CE-0324-0EF25DD337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7507" y="4552645"/>
                <a:ext cx="144000" cy="141732"/>
              </a:xfrm>
              <a:prstGeom prst="rect">
                <a:avLst/>
              </a:prstGeom>
            </p:spPr>
          </p:pic>
        </p:grpSp>
      </p:grpSp>
      <p:grpSp>
        <p:nvGrpSpPr>
          <p:cNvPr id="31" name="Group 30">
            <a:extLst>
              <a:ext uri="{FF2B5EF4-FFF2-40B4-BE49-F238E27FC236}">
                <a16:creationId xmlns:a16="http://schemas.microsoft.com/office/drawing/2014/main" id="{9530BB20-0378-EA5C-7A17-7662F0732499}"/>
              </a:ext>
            </a:extLst>
          </p:cNvPr>
          <p:cNvGrpSpPr/>
          <p:nvPr/>
        </p:nvGrpSpPr>
        <p:grpSpPr>
          <a:xfrm>
            <a:off x="320719" y="5020658"/>
            <a:ext cx="1771605" cy="216000"/>
            <a:chOff x="320719" y="5270676"/>
            <a:chExt cx="1771605" cy="216000"/>
          </a:xfrm>
        </p:grpSpPr>
        <p:sp>
          <p:nvSpPr>
            <p:cNvPr id="32" name="Rectangle: Rounded Corners 6">
              <a:extLst>
                <a:ext uri="{FF2B5EF4-FFF2-40B4-BE49-F238E27FC236}">
                  <a16:creationId xmlns:a16="http://schemas.microsoft.com/office/drawing/2014/main" id="{FDBC2CAD-1F1C-ECF4-6022-7C15537150AC}"/>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spcBef>
                  <a:spcPts val="0"/>
                </a:spcBef>
                <a:spcAft>
                  <a:spcPts val="0"/>
                </a:spcAft>
                <a:buClrTx/>
                <a:buSzTx/>
                <a:buFontTx/>
                <a:buNone/>
                <a:tabLst/>
                <a:defRPr/>
              </a:pPr>
              <a:r>
                <a:rPr kumimoji="0" lang="en-US" sz="900" b="0" i="0" u="none" strike="noStrike" kern="1200" cap="none" normalizeH="0" baseline="0" noProof="0" dirty="0">
                  <a:ln>
                    <a:noFill/>
                  </a:ln>
                  <a:solidFill>
                    <a:srgbClr val="C03BC4"/>
                  </a:solidFill>
                  <a:effectLst/>
                  <a:uLnTx/>
                  <a:uFillTx/>
                  <a:latin typeface="+mj-lt"/>
                  <a:ea typeface="+mn-ea"/>
                  <a:cs typeface="Segoe UI Semibold" panose="020B0702040204020203" pitchFamily="34" charset="0"/>
                </a:rPr>
                <a:t>Revenue growth</a:t>
              </a:r>
            </a:p>
          </p:txBody>
        </p:sp>
        <p:pic>
          <p:nvPicPr>
            <p:cNvPr id="33" name="Graphic 32">
              <a:extLst>
                <a:ext uri="{FF2B5EF4-FFF2-40B4-BE49-F238E27FC236}">
                  <a16:creationId xmlns:a16="http://schemas.microsoft.com/office/drawing/2014/main" id="{7CC105C3-A40D-76CA-BE40-BCC405A7E02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5" y="5306676"/>
              <a:ext cx="144000" cy="144000"/>
            </a:xfrm>
            <a:prstGeom prst="rect">
              <a:avLst/>
            </a:prstGeom>
          </p:spPr>
        </p:pic>
      </p:grpSp>
      <p:grpSp>
        <p:nvGrpSpPr>
          <p:cNvPr id="35" name="Group 34">
            <a:extLst>
              <a:ext uri="{FF2B5EF4-FFF2-40B4-BE49-F238E27FC236}">
                <a16:creationId xmlns:a16="http://schemas.microsoft.com/office/drawing/2014/main" id="{189B9F77-7644-BEBF-36E9-F488BCC4C118}"/>
              </a:ext>
            </a:extLst>
          </p:cNvPr>
          <p:cNvGrpSpPr/>
          <p:nvPr/>
        </p:nvGrpSpPr>
        <p:grpSpPr>
          <a:xfrm>
            <a:off x="3437607" y="2192849"/>
            <a:ext cx="2210744" cy="323165"/>
            <a:chOff x="8931568" y="2189728"/>
            <a:chExt cx="2210744" cy="323165"/>
          </a:xfrm>
        </p:grpSpPr>
        <p:sp>
          <p:nvSpPr>
            <p:cNvPr id="36" name="TextBox 35">
              <a:extLst>
                <a:ext uri="{FF2B5EF4-FFF2-40B4-BE49-F238E27FC236}">
                  <a16:creationId xmlns:a16="http://schemas.microsoft.com/office/drawing/2014/main" id="{4CB78404-AC76-9432-7D63-01E5FA91226D}"/>
                </a:ext>
                <a:ext uri="{C183D7F6-B498-43B3-948B-1728B52AA6E4}">
                  <adec:decorative xmlns:adec="http://schemas.microsoft.com/office/drawing/2017/decorative" val="0"/>
                </a:ext>
              </a:extLst>
            </p:cNvPr>
            <p:cNvSpPr txBox="1"/>
            <p:nvPr/>
          </p:nvSpPr>
          <p:spPr>
            <a:xfrm>
              <a:off x="9290514" y="2235894"/>
              <a:ext cx="1851798"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mj-lt"/>
                  <a:ea typeface="+mn-ea"/>
                  <a:cs typeface="+mn-cs"/>
                </a:rPr>
                <a:t>Copilot Agent</a:t>
              </a:r>
              <a:r>
                <a:rPr kumimoji="0" lang="en-US" sz="1000" b="0" i="0" u="none" strike="noStrike" kern="1200" cap="none" spc="0" normalizeH="0" baseline="30000" noProof="0" dirty="0">
                  <a:ln>
                    <a:noFill/>
                  </a:ln>
                  <a:effectLst/>
                  <a:uLnTx/>
                  <a:uFillTx/>
                  <a:latin typeface="+mj-lt"/>
                  <a:ea typeface="+mn-ea"/>
                  <a:cs typeface="+mn-cs"/>
                </a:rPr>
                <a:t>3</a:t>
              </a:r>
              <a:endParaRPr kumimoji="0" lang="en-US" sz="1000" b="0" i="0" u="none" strike="noStrike" kern="1200" cap="none" spc="0" normalizeH="0" baseline="0" noProof="0" dirty="0">
                <a:ln>
                  <a:noFill/>
                </a:ln>
                <a:effectLst/>
                <a:uLnTx/>
                <a:uFillTx/>
                <a:latin typeface="+mj-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mj-lt"/>
                  <a:ea typeface="+mn-ea"/>
                  <a:cs typeface="+mn-cs"/>
                </a:rPr>
                <a:t>+ Connection to Web</a:t>
              </a:r>
            </a:p>
          </p:txBody>
        </p:sp>
        <p:pic>
          <p:nvPicPr>
            <p:cNvPr id="37" name="Picture 36">
              <a:extLst>
                <a:ext uri="{FF2B5EF4-FFF2-40B4-BE49-F238E27FC236}">
                  <a16:creationId xmlns:a16="http://schemas.microsoft.com/office/drawing/2014/main" id="{CC23FE98-3F12-47FC-0FE5-482EC54F4577}"/>
                </a:ext>
                <a:ext uri="{C183D7F6-B498-43B3-948B-1728B52AA6E4}">
                  <adec:decorative xmlns:adec="http://schemas.microsoft.com/office/drawing/2017/decorative" val="0"/>
                </a:ext>
              </a:extLst>
            </p:cNvPr>
            <p:cNvPicPr>
              <a:picLocks noChangeAspect="1"/>
            </p:cNvPicPr>
            <p:nvPr/>
          </p:nvPicPr>
          <p:blipFill rotWithShape="1">
            <a:blip r:embed="rId7"/>
            <a:srcRect b="3736"/>
            <a:stretch/>
          </p:blipFill>
          <p:spPr>
            <a:xfrm>
              <a:off x="8931568" y="2189728"/>
              <a:ext cx="224338" cy="215956"/>
            </a:xfrm>
            <a:prstGeom prst="rect">
              <a:avLst/>
            </a:prstGeom>
            <a:ln w="6657" cap="flat">
              <a:noFill/>
              <a:prstDash val="solid"/>
              <a:miter/>
            </a:ln>
            <a:effectLst/>
          </p:spPr>
        </p:pic>
      </p:grpSp>
      <p:grpSp>
        <p:nvGrpSpPr>
          <p:cNvPr id="38" name="Group 37">
            <a:extLst>
              <a:ext uri="{FF2B5EF4-FFF2-40B4-BE49-F238E27FC236}">
                <a16:creationId xmlns:a16="http://schemas.microsoft.com/office/drawing/2014/main" id="{50DC1409-E202-B1D5-2F83-E883F0DECB03}"/>
              </a:ext>
            </a:extLst>
          </p:cNvPr>
          <p:cNvGrpSpPr/>
          <p:nvPr/>
        </p:nvGrpSpPr>
        <p:grpSpPr>
          <a:xfrm>
            <a:off x="6282073" y="2192849"/>
            <a:ext cx="2210744" cy="323165"/>
            <a:chOff x="8931568" y="2189728"/>
            <a:chExt cx="2210744" cy="323165"/>
          </a:xfrm>
        </p:grpSpPr>
        <p:sp>
          <p:nvSpPr>
            <p:cNvPr id="39" name="TextBox 38">
              <a:extLst>
                <a:ext uri="{FF2B5EF4-FFF2-40B4-BE49-F238E27FC236}">
                  <a16:creationId xmlns:a16="http://schemas.microsoft.com/office/drawing/2014/main" id="{60F60DDB-589F-0975-A2BD-B26BF0F7DA7D}"/>
                </a:ext>
                <a:ext uri="{C183D7F6-B498-43B3-948B-1728B52AA6E4}">
                  <adec:decorative xmlns:adec="http://schemas.microsoft.com/office/drawing/2017/decorative" val="0"/>
                </a:ext>
              </a:extLst>
            </p:cNvPr>
            <p:cNvSpPr txBox="1"/>
            <p:nvPr/>
          </p:nvSpPr>
          <p:spPr>
            <a:xfrm>
              <a:off x="9290514" y="2235894"/>
              <a:ext cx="1851798"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mj-lt"/>
                  <a:ea typeface="+mn-ea"/>
                  <a:cs typeface="+mn-cs"/>
                </a:rPr>
                <a:t>Copilot Agent</a:t>
              </a:r>
              <a:r>
                <a:rPr kumimoji="0" lang="en-US" sz="1000" b="0" i="0" u="none" strike="noStrike" kern="1200" cap="none" spc="0" normalizeH="0" baseline="30000" noProof="0" dirty="0">
                  <a:ln>
                    <a:noFill/>
                  </a:ln>
                  <a:effectLst/>
                  <a:uLnTx/>
                  <a:uFillTx/>
                  <a:latin typeface="+mj-lt"/>
                  <a:ea typeface="+mn-ea"/>
                  <a:cs typeface="+mn-cs"/>
                </a:rPr>
                <a:t>3</a:t>
              </a:r>
              <a:endParaRPr kumimoji="0" lang="en-US" sz="1000" b="0" i="0" u="none" strike="noStrike" kern="1200" cap="none" spc="0" normalizeH="0" baseline="0" noProof="0" dirty="0">
                <a:ln>
                  <a:noFill/>
                </a:ln>
                <a:effectLst/>
                <a:uLnTx/>
                <a:uFillTx/>
                <a:latin typeface="+mj-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mj-lt"/>
                  <a:ea typeface="+mn-ea"/>
                  <a:cs typeface="+mn-cs"/>
                </a:rPr>
                <a:t>+ Connection to data store</a:t>
              </a:r>
            </a:p>
          </p:txBody>
        </p:sp>
        <p:pic>
          <p:nvPicPr>
            <p:cNvPr id="40" name="Picture 39">
              <a:extLst>
                <a:ext uri="{FF2B5EF4-FFF2-40B4-BE49-F238E27FC236}">
                  <a16:creationId xmlns:a16="http://schemas.microsoft.com/office/drawing/2014/main" id="{5D63551F-E7B0-C296-C36B-5D80BD8ACBAC}"/>
                </a:ext>
                <a:ext uri="{C183D7F6-B498-43B3-948B-1728B52AA6E4}">
                  <adec:decorative xmlns:adec="http://schemas.microsoft.com/office/drawing/2017/decorative" val="0"/>
                </a:ext>
              </a:extLst>
            </p:cNvPr>
            <p:cNvPicPr>
              <a:picLocks noChangeAspect="1"/>
            </p:cNvPicPr>
            <p:nvPr/>
          </p:nvPicPr>
          <p:blipFill rotWithShape="1">
            <a:blip r:embed="rId7"/>
            <a:srcRect b="3736"/>
            <a:stretch/>
          </p:blipFill>
          <p:spPr>
            <a:xfrm>
              <a:off x="8931568" y="2189728"/>
              <a:ext cx="224338" cy="215956"/>
            </a:xfrm>
            <a:prstGeom prst="rect">
              <a:avLst/>
            </a:prstGeom>
            <a:ln w="6657" cap="flat">
              <a:noFill/>
              <a:prstDash val="solid"/>
              <a:miter/>
            </a:ln>
            <a:effectLst/>
          </p:spPr>
        </p:pic>
      </p:grpSp>
      <p:grpSp>
        <p:nvGrpSpPr>
          <p:cNvPr id="44" name="Group 43">
            <a:extLst>
              <a:ext uri="{FF2B5EF4-FFF2-40B4-BE49-F238E27FC236}">
                <a16:creationId xmlns:a16="http://schemas.microsoft.com/office/drawing/2014/main" id="{77CC4E91-4CD3-2BED-9CD7-38F7E114FA3C}"/>
              </a:ext>
            </a:extLst>
          </p:cNvPr>
          <p:cNvGrpSpPr/>
          <p:nvPr/>
        </p:nvGrpSpPr>
        <p:grpSpPr>
          <a:xfrm>
            <a:off x="4401534" y="4708611"/>
            <a:ext cx="2210744" cy="323165"/>
            <a:chOff x="8931568" y="2189728"/>
            <a:chExt cx="2210744" cy="323165"/>
          </a:xfrm>
        </p:grpSpPr>
        <p:sp>
          <p:nvSpPr>
            <p:cNvPr id="45" name="TextBox 44">
              <a:extLst>
                <a:ext uri="{FF2B5EF4-FFF2-40B4-BE49-F238E27FC236}">
                  <a16:creationId xmlns:a16="http://schemas.microsoft.com/office/drawing/2014/main" id="{94A9C8A1-8D70-7783-4412-C0B54A614A55}"/>
                </a:ext>
                <a:ext uri="{C183D7F6-B498-43B3-948B-1728B52AA6E4}">
                  <adec:decorative xmlns:adec="http://schemas.microsoft.com/office/drawing/2017/decorative" val="0"/>
                </a:ext>
              </a:extLst>
            </p:cNvPr>
            <p:cNvSpPr txBox="1"/>
            <p:nvPr/>
          </p:nvSpPr>
          <p:spPr>
            <a:xfrm>
              <a:off x="9290514" y="2235894"/>
              <a:ext cx="1851798"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mj-lt"/>
                  <a:ea typeface="+mn-ea"/>
                  <a:cs typeface="+mn-cs"/>
                </a:rPr>
                <a:t>Copilot Agent</a:t>
              </a:r>
              <a:r>
                <a:rPr kumimoji="0" lang="en-US" sz="1000" b="0" i="0" u="none" strike="noStrike" kern="1200" cap="none" spc="0" normalizeH="0" baseline="30000" noProof="0" dirty="0">
                  <a:ln>
                    <a:noFill/>
                  </a:ln>
                  <a:effectLst/>
                  <a:uLnTx/>
                  <a:uFillTx/>
                  <a:latin typeface="+mj-lt"/>
                  <a:ea typeface="+mn-ea"/>
                  <a:cs typeface="+mn-cs"/>
                </a:rPr>
                <a:t>3</a:t>
              </a:r>
              <a:endParaRPr kumimoji="0" lang="en-US" sz="1000" b="0" i="0" u="none" strike="noStrike" kern="1200" cap="none" spc="0" normalizeH="0" baseline="0" noProof="0" dirty="0">
                <a:ln>
                  <a:noFill/>
                </a:ln>
                <a:effectLst/>
                <a:uLnTx/>
                <a:uFillTx/>
                <a:latin typeface="+mj-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mj-lt"/>
                  <a:ea typeface="+mn-ea"/>
                  <a:cs typeface="+mn-cs"/>
                </a:rPr>
                <a:t>+ Connection to data store</a:t>
              </a:r>
            </a:p>
          </p:txBody>
        </p:sp>
        <p:pic>
          <p:nvPicPr>
            <p:cNvPr id="46" name="Picture 45">
              <a:extLst>
                <a:ext uri="{FF2B5EF4-FFF2-40B4-BE49-F238E27FC236}">
                  <a16:creationId xmlns:a16="http://schemas.microsoft.com/office/drawing/2014/main" id="{526A20C3-AF8F-DC07-1BD1-F887B798B1AE}"/>
                </a:ext>
                <a:ext uri="{C183D7F6-B498-43B3-948B-1728B52AA6E4}">
                  <adec:decorative xmlns:adec="http://schemas.microsoft.com/office/drawing/2017/decorative" val="0"/>
                </a:ext>
              </a:extLst>
            </p:cNvPr>
            <p:cNvPicPr>
              <a:picLocks noChangeAspect="1"/>
            </p:cNvPicPr>
            <p:nvPr/>
          </p:nvPicPr>
          <p:blipFill rotWithShape="1">
            <a:blip r:embed="rId7"/>
            <a:srcRect b="3736"/>
            <a:stretch/>
          </p:blipFill>
          <p:spPr>
            <a:xfrm>
              <a:off x="8931568" y="2189728"/>
              <a:ext cx="224338" cy="215956"/>
            </a:xfrm>
            <a:prstGeom prst="rect">
              <a:avLst/>
            </a:prstGeom>
            <a:ln w="6657" cap="flat">
              <a:noFill/>
              <a:prstDash val="solid"/>
              <a:miter/>
            </a:ln>
            <a:effectLst/>
          </p:spPr>
        </p:pic>
      </p:grpSp>
      <p:grpSp>
        <p:nvGrpSpPr>
          <p:cNvPr id="47" name="Group 46">
            <a:extLst>
              <a:ext uri="{FF2B5EF4-FFF2-40B4-BE49-F238E27FC236}">
                <a16:creationId xmlns:a16="http://schemas.microsoft.com/office/drawing/2014/main" id="{00593646-A56F-AFC0-AA5C-156EC293D3C9}"/>
              </a:ext>
            </a:extLst>
          </p:cNvPr>
          <p:cNvGrpSpPr/>
          <p:nvPr/>
        </p:nvGrpSpPr>
        <p:grpSpPr>
          <a:xfrm>
            <a:off x="7908301" y="4756391"/>
            <a:ext cx="2210744" cy="323165"/>
            <a:chOff x="8931568" y="2189728"/>
            <a:chExt cx="2210744" cy="323165"/>
          </a:xfrm>
        </p:grpSpPr>
        <p:sp>
          <p:nvSpPr>
            <p:cNvPr id="48" name="TextBox 47">
              <a:extLst>
                <a:ext uri="{FF2B5EF4-FFF2-40B4-BE49-F238E27FC236}">
                  <a16:creationId xmlns:a16="http://schemas.microsoft.com/office/drawing/2014/main" id="{ED9B85C7-882C-BF9A-6418-CDE1CFE3B24E}"/>
                </a:ext>
                <a:ext uri="{C183D7F6-B498-43B3-948B-1728B52AA6E4}">
                  <adec:decorative xmlns:adec="http://schemas.microsoft.com/office/drawing/2017/decorative" val="0"/>
                </a:ext>
              </a:extLst>
            </p:cNvPr>
            <p:cNvSpPr txBox="1"/>
            <p:nvPr/>
          </p:nvSpPr>
          <p:spPr>
            <a:xfrm>
              <a:off x="9290514" y="2235894"/>
              <a:ext cx="1851798"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mj-lt"/>
                  <a:ea typeface="+mn-ea"/>
                  <a:cs typeface="+mn-cs"/>
                </a:rPr>
                <a:t>Copilot Agent</a:t>
              </a:r>
              <a:r>
                <a:rPr kumimoji="0" lang="en-US" sz="1000" b="0" i="0" u="none" strike="noStrike" kern="1200" cap="none" spc="0" normalizeH="0" baseline="30000" noProof="0" dirty="0">
                  <a:ln>
                    <a:noFill/>
                  </a:ln>
                  <a:effectLst/>
                  <a:uLnTx/>
                  <a:uFillTx/>
                  <a:latin typeface="+mj-lt"/>
                  <a:ea typeface="+mn-ea"/>
                  <a:cs typeface="+mn-cs"/>
                </a:rPr>
                <a:t>3</a:t>
              </a:r>
              <a:endParaRPr kumimoji="0" lang="en-US" sz="1000" b="0" i="0" u="none" strike="noStrike" kern="1200" cap="none" spc="0" normalizeH="0" baseline="0" noProof="0" dirty="0">
                <a:ln>
                  <a:noFill/>
                </a:ln>
                <a:effectLst/>
                <a:uLnTx/>
                <a:uFillTx/>
                <a:latin typeface="+mj-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mj-lt"/>
                  <a:ea typeface="+mn-ea"/>
                  <a:cs typeface="+mn-cs"/>
                </a:rPr>
                <a:t>+ Connection to data store</a:t>
              </a:r>
            </a:p>
          </p:txBody>
        </p:sp>
        <p:pic>
          <p:nvPicPr>
            <p:cNvPr id="49" name="Picture 48">
              <a:extLst>
                <a:ext uri="{FF2B5EF4-FFF2-40B4-BE49-F238E27FC236}">
                  <a16:creationId xmlns:a16="http://schemas.microsoft.com/office/drawing/2014/main" id="{22328BCD-31D1-E8F3-0D2C-2260FBD6FE2A}"/>
                </a:ext>
                <a:ext uri="{C183D7F6-B498-43B3-948B-1728B52AA6E4}">
                  <adec:decorative xmlns:adec="http://schemas.microsoft.com/office/drawing/2017/decorative" val="0"/>
                </a:ext>
              </a:extLst>
            </p:cNvPr>
            <p:cNvPicPr>
              <a:picLocks noChangeAspect="1"/>
            </p:cNvPicPr>
            <p:nvPr/>
          </p:nvPicPr>
          <p:blipFill rotWithShape="1">
            <a:blip r:embed="rId7"/>
            <a:srcRect b="3736"/>
            <a:stretch/>
          </p:blipFill>
          <p:spPr>
            <a:xfrm>
              <a:off x="8931568" y="2189728"/>
              <a:ext cx="224338" cy="215956"/>
            </a:xfrm>
            <a:prstGeom prst="rect">
              <a:avLst/>
            </a:prstGeom>
            <a:ln w="6657" cap="flat">
              <a:noFill/>
              <a:prstDash val="solid"/>
              <a:miter/>
            </a:ln>
            <a:effectLst/>
          </p:spPr>
        </p:pic>
      </p:grpSp>
      <p:sp>
        <p:nvSpPr>
          <p:cNvPr id="52" name="TextBox 51">
            <a:extLst>
              <a:ext uri="{FF2B5EF4-FFF2-40B4-BE49-F238E27FC236}">
                <a16:creationId xmlns:a16="http://schemas.microsoft.com/office/drawing/2014/main" id="{E6F7133E-7F62-32B4-3258-80C15DFF9625}"/>
              </a:ext>
              <a:ext uri="{C183D7F6-B498-43B3-948B-1728B52AA6E4}">
                <adec:decorative xmlns:adec="http://schemas.microsoft.com/office/drawing/2017/decorative" val="0"/>
              </a:ext>
            </a:extLst>
          </p:cNvPr>
          <p:cNvSpPr txBox="1">
            <a:spLocks/>
          </p:cNvSpPr>
          <p:nvPr/>
        </p:nvSpPr>
        <p:spPr>
          <a:xfrm>
            <a:off x="9684954" y="2174045"/>
            <a:ext cx="1490793" cy="4527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1</a:t>
            </a:r>
          </a:p>
        </p:txBody>
      </p:sp>
      <p:pic>
        <p:nvPicPr>
          <p:cNvPr id="53" name="Picture 50">
            <a:hlinkClick r:id="rId8"/>
            <a:extLst>
              <a:ext uri="{FF2B5EF4-FFF2-40B4-BE49-F238E27FC236}">
                <a16:creationId xmlns:a16="http://schemas.microsoft.com/office/drawing/2014/main" id="{9C3E88B0-E725-CE68-3D1C-65F258B01B7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315392" y="2279235"/>
            <a:ext cx="242374" cy="242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983216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7F6DD0-8C41-4B72-3B1E-0C1136A35657}"/>
            </a:ext>
          </a:extLst>
        </p:cNvPr>
        <p:cNvGrpSpPr/>
        <p:nvPr/>
      </p:nvGrpSpPr>
      <p:grpSpPr>
        <a:xfrm>
          <a:off x="0" y="0"/>
          <a:ext cx="0" cy="0"/>
          <a:chOff x="0" y="0"/>
          <a:chExt cx="0" cy="0"/>
        </a:xfrm>
      </p:grpSpPr>
      <p:sp>
        <p:nvSpPr>
          <p:cNvPr id="45" name="Text Placeholder 44">
            <a:extLst>
              <a:ext uri="{FF2B5EF4-FFF2-40B4-BE49-F238E27FC236}">
                <a16:creationId xmlns:a16="http://schemas.microsoft.com/office/drawing/2014/main" id="{4A1523C1-6A9D-BE33-1166-E49521E14C43}"/>
              </a:ext>
            </a:extLst>
          </p:cNvPr>
          <p:cNvSpPr>
            <a:spLocks noGrp="1"/>
          </p:cNvSpPr>
          <p:nvPr>
            <p:ph type="body" sz="quarter" idx="42"/>
          </p:nvPr>
        </p:nvSpPr>
        <p:spPr>
          <a:xfrm>
            <a:off x="311388" y="1026303"/>
            <a:ext cx="2431246" cy="1131079"/>
          </a:xfrm>
        </p:spPr>
        <p:txBody>
          <a:bodyPr/>
          <a:lstStyle/>
          <a:p>
            <a:r>
              <a:rPr lang="en-US" noProof="0" dirty="0"/>
              <a:t>Use AI for assistance when making pricing decisions and implementing adaptive pricing.</a:t>
            </a:r>
          </a:p>
        </p:txBody>
      </p:sp>
      <p:sp>
        <p:nvSpPr>
          <p:cNvPr id="77" name="Text Placeholder 76">
            <a:extLst>
              <a:ext uri="{FF2B5EF4-FFF2-40B4-BE49-F238E27FC236}">
                <a16:creationId xmlns:a16="http://schemas.microsoft.com/office/drawing/2014/main" id="{B24961A9-BA9E-48FF-4AED-B10A1C494E69}"/>
              </a:ext>
            </a:extLst>
          </p:cNvPr>
          <p:cNvSpPr>
            <a:spLocks noGrp="1"/>
          </p:cNvSpPr>
          <p:nvPr>
            <p:ph type="body" sz="quarter" idx="43"/>
          </p:nvPr>
        </p:nvSpPr>
        <p:spPr>
          <a:xfrm>
            <a:off x="10430351" y="521099"/>
            <a:ext cx="1456966" cy="175614"/>
          </a:xfrm>
        </p:spPr>
        <p:txBody>
          <a:bodyPr/>
          <a:lstStyle/>
          <a:p>
            <a:r>
              <a:rPr lang="en-US" noProof="0"/>
              <a:t>Extend</a:t>
            </a:r>
          </a:p>
        </p:txBody>
      </p:sp>
      <p:sp>
        <p:nvSpPr>
          <p:cNvPr id="79" name="Text Placeholder 78">
            <a:extLst>
              <a:ext uri="{FF2B5EF4-FFF2-40B4-BE49-F238E27FC236}">
                <a16:creationId xmlns:a16="http://schemas.microsoft.com/office/drawing/2014/main" id="{4D0D384B-151D-55F0-B03C-60D9D267CAD5}"/>
              </a:ext>
            </a:extLst>
          </p:cNvPr>
          <p:cNvSpPr>
            <a:spLocks noGrp="1"/>
          </p:cNvSpPr>
          <p:nvPr>
            <p:ph type="body" sz="quarter" idx="44"/>
          </p:nvPr>
        </p:nvSpPr>
        <p:spPr>
          <a:xfrm>
            <a:off x="7149557" y="521100"/>
            <a:ext cx="2969488" cy="169277"/>
          </a:xfrm>
        </p:spPr>
        <p:txBody>
          <a:bodyPr/>
          <a:lstStyle/>
          <a:p>
            <a:r>
              <a:rPr lang="en-US" noProof="0"/>
              <a:t>Microsoft 365 Copilot and Copilot Studio</a:t>
            </a:r>
          </a:p>
        </p:txBody>
      </p:sp>
      <p:sp>
        <p:nvSpPr>
          <p:cNvPr id="23" name="Text Placeholder 22">
            <a:extLst>
              <a:ext uri="{FF2B5EF4-FFF2-40B4-BE49-F238E27FC236}">
                <a16:creationId xmlns:a16="http://schemas.microsoft.com/office/drawing/2014/main" id="{1682B665-11EF-6FCC-F856-A992129D354D}"/>
              </a:ext>
            </a:extLst>
          </p:cNvPr>
          <p:cNvSpPr>
            <a:spLocks noGrp="1"/>
          </p:cNvSpPr>
          <p:nvPr>
            <p:ph type="body" sz="quarter" idx="46"/>
          </p:nvPr>
        </p:nvSpPr>
        <p:spPr>
          <a:xfrm>
            <a:off x="3182889" y="2725494"/>
            <a:ext cx="2572262" cy="712876"/>
          </a:xfrm>
        </p:spPr>
        <p:txBody>
          <a:bodyPr/>
          <a:lstStyle/>
          <a:p>
            <a:r>
              <a:rPr lang="en-US" noProof="0" dirty="0"/>
              <a:t>Prompt: Compare the price of one unit of product #12345 across U.S. retail websites.</a:t>
            </a:r>
          </a:p>
        </p:txBody>
      </p:sp>
      <p:sp>
        <p:nvSpPr>
          <p:cNvPr id="86" name="Text Placeholder 85">
            <a:extLst>
              <a:ext uri="{FF2B5EF4-FFF2-40B4-BE49-F238E27FC236}">
                <a16:creationId xmlns:a16="http://schemas.microsoft.com/office/drawing/2014/main" id="{FFBA136B-31E6-3929-477E-9F24DB1D6F85}"/>
              </a:ext>
            </a:extLst>
          </p:cNvPr>
          <p:cNvSpPr>
            <a:spLocks noGrp="1"/>
          </p:cNvSpPr>
          <p:nvPr>
            <p:ph type="body" sz="quarter" idx="47"/>
          </p:nvPr>
        </p:nvSpPr>
        <p:spPr>
          <a:xfrm>
            <a:off x="3182890" y="1112478"/>
            <a:ext cx="2572262" cy="153888"/>
          </a:xfrm>
        </p:spPr>
        <p:txBody>
          <a:bodyPr/>
          <a:lstStyle/>
          <a:p>
            <a:r>
              <a:rPr lang="en-US" noProof="0"/>
              <a:t>Gather competitive pricing data</a:t>
            </a:r>
          </a:p>
        </p:txBody>
      </p:sp>
      <p:sp>
        <p:nvSpPr>
          <p:cNvPr id="87" name="Text Placeholder 86">
            <a:extLst>
              <a:ext uri="{FF2B5EF4-FFF2-40B4-BE49-F238E27FC236}">
                <a16:creationId xmlns:a16="http://schemas.microsoft.com/office/drawing/2014/main" id="{473C7202-1E71-03EE-B24B-29DADE8A5078}"/>
              </a:ext>
            </a:extLst>
          </p:cNvPr>
          <p:cNvSpPr>
            <a:spLocks noGrp="1"/>
          </p:cNvSpPr>
          <p:nvPr>
            <p:ph type="body" sz="quarter" idx="48"/>
          </p:nvPr>
        </p:nvSpPr>
        <p:spPr>
          <a:xfrm>
            <a:off x="3182890" y="1438715"/>
            <a:ext cx="2572262" cy="626701"/>
          </a:xfrm>
        </p:spPr>
        <p:txBody>
          <a:bodyPr/>
          <a:lstStyle/>
          <a:p>
            <a:r>
              <a:rPr lang="en-US" noProof="0"/>
              <a:t>Copilot helps in gather pricing information from competitor websites and marketplaces. </a:t>
            </a:r>
          </a:p>
        </p:txBody>
      </p:sp>
      <p:sp>
        <p:nvSpPr>
          <p:cNvPr id="88" name="Text Placeholder 87">
            <a:extLst>
              <a:ext uri="{FF2B5EF4-FFF2-40B4-BE49-F238E27FC236}">
                <a16:creationId xmlns:a16="http://schemas.microsoft.com/office/drawing/2014/main" id="{0584F130-34A7-5717-AEAF-01DFD166BCB1}"/>
              </a:ext>
            </a:extLst>
          </p:cNvPr>
          <p:cNvSpPr>
            <a:spLocks noGrp="1"/>
          </p:cNvSpPr>
          <p:nvPr>
            <p:ph type="body" sz="quarter" idx="49"/>
          </p:nvPr>
        </p:nvSpPr>
        <p:spPr>
          <a:xfrm>
            <a:off x="6066682" y="1112478"/>
            <a:ext cx="2572262" cy="153888"/>
          </a:xfrm>
        </p:spPr>
        <p:txBody>
          <a:bodyPr/>
          <a:lstStyle/>
          <a:p>
            <a:r>
              <a:rPr lang="en-US" noProof="0"/>
              <a:t>Sales data analysis</a:t>
            </a:r>
          </a:p>
        </p:txBody>
      </p:sp>
      <p:sp>
        <p:nvSpPr>
          <p:cNvPr id="89" name="Text Placeholder 88">
            <a:extLst>
              <a:ext uri="{FF2B5EF4-FFF2-40B4-BE49-F238E27FC236}">
                <a16:creationId xmlns:a16="http://schemas.microsoft.com/office/drawing/2014/main" id="{066D88DB-6393-9D09-24B4-FA933C21C671}"/>
              </a:ext>
            </a:extLst>
          </p:cNvPr>
          <p:cNvSpPr>
            <a:spLocks noGrp="1"/>
          </p:cNvSpPr>
          <p:nvPr>
            <p:ph type="body" sz="quarter" idx="50"/>
          </p:nvPr>
        </p:nvSpPr>
        <p:spPr>
          <a:xfrm>
            <a:off x="6066682" y="1438715"/>
            <a:ext cx="2572262" cy="626701"/>
          </a:xfrm>
        </p:spPr>
        <p:txBody>
          <a:bodyPr/>
          <a:lstStyle/>
          <a:p>
            <a:r>
              <a:rPr lang="en-US" noProof="0"/>
              <a:t>Copilot helps analyze sales data to identify trends, such as which products are selling well at current prices and which are not.</a:t>
            </a:r>
          </a:p>
        </p:txBody>
      </p:sp>
      <p:sp>
        <p:nvSpPr>
          <p:cNvPr id="93" name="Text Placeholder 92">
            <a:extLst>
              <a:ext uri="{FF2B5EF4-FFF2-40B4-BE49-F238E27FC236}">
                <a16:creationId xmlns:a16="http://schemas.microsoft.com/office/drawing/2014/main" id="{8AEA1649-8C2A-B5F3-86DB-781529DF5CF6}"/>
              </a:ext>
            </a:extLst>
          </p:cNvPr>
          <p:cNvSpPr>
            <a:spLocks noGrp="1"/>
          </p:cNvSpPr>
          <p:nvPr>
            <p:ph type="body" sz="quarter" idx="67"/>
          </p:nvPr>
        </p:nvSpPr>
        <p:spPr>
          <a:xfrm>
            <a:off x="8950475" y="2725494"/>
            <a:ext cx="2572262" cy="712876"/>
          </a:xfrm>
        </p:spPr>
        <p:txBody>
          <a:bodyPr/>
          <a:lstStyle/>
          <a:p>
            <a:r>
              <a:rPr lang="en-US" noProof="0" dirty="0"/>
              <a:t>Prompt: Add a column to calculate margin based on the price, average discount, and cost columns. Highlight any margins that are less than 30%.</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3"/>
              </a:rPr>
              <a:t>Try in Prompt Gallery: Add a formula column</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noProof="0" dirty="0"/>
          </a:p>
        </p:txBody>
      </p:sp>
      <p:sp>
        <p:nvSpPr>
          <p:cNvPr id="91" name="Text Placeholder 90">
            <a:extLst>
              <a:ext uri="{FF2B5EF4-FFF2-40B4-BE49-F238E27FC236}">
                <a16:creationId xmlns:a16="http://schemas.microsoft.com/office/drawing/2014/main" id="{39887C34-A831-C8EF-3162-8A0CEC5F9AB9}"/>
              </a:ext>
            </a:extLst>
          </p:cNvPr>
          <p:cNvSpPr>
            <a:spLocks noGrp="1"/>
          </p:cNvSpPr>
          <p:nvPr>
            <p:ph type="body" sz="quarter" idx="52"/>
          </p:nvPr>
        </p:nvSpPr>
        <p:spPr>
          <a:xfrm>
            <a:off x="8950475" y="1112478"/>
            <a:ext cx="2572262" cy="153888"/>
          </a:xfrm>
        </p:spPr>
        <p:txBody>
          <a:bodyPr/>
          <a:lstStyle/>
          <a:p>
            <a:r>
              <a:rPr lang="en-US" noProof="0"/>
              <a:t>Cost and margin review</a:t>
            </a:r>
          </a:p>
        </p:txBody>
      </p:sp>
      <p:sp>
        <p:nvSpPr>
          <p:cNvPr id="92" name="Text Placeholder 91">
            <a:extLst>
              <a:ext uri="{FF2B5EF4-FFF2-40B4-BE49-F238E27FC236}">
                <a16:creationId xmlns:a16="http://schemas.microsoft.com/office/drawing/2014/main" id="{52E2B7B0-7F20-1A84-6818-46517EDFB1D6}"/>
              </a:ext>
            </a:extLst>
          </p:cNvPr>
          <p:cNvSpPr>
            <a:spLocks noGrp="1"/>
          </p:cNvSpPr>
          <p:nvPr>
            <p:ph type="body" sz="quarter" idx="53"/>
          </p:nvPr>
        </p:nvSpPr>
        <p:spPr>
          <a:xfrm>
            <a:off x="8950475" y="1438715"/>
            <a:ext cx="2572262" cy="626701"/>
          </a:xfrm>
        </p:spPr>
        <p:txBody>
          <a:bodyPr/>
          <a:lstStyle/>
          <a:p>
            <a:r>
              <a:rPr lang="en-US" noProof="0"/>
              <a:t>Copilot helps compare pricing strategy options against costs to ensure margin structure meets requirements. </a:t>
            </a:r>
          </a:p>
        </p:txBody>
      </p:sp>
      <p:sp>
        <p:nvSpPr>
          <p:cNvPr id="90" name="Text Placeholder 89">
            <a:extLst>
              <a:ext uri="{FF2B5EF4-FFF2-40B4-BE49-F238E27FC236}">
                <a16:creationId xmlns:a16="http://schemas.microsoft.com/office/drawing/2014/main" id="{AFB5EC9F-92C0-8B88-36A3-91A5FF6255E5}"/>
              </a:ext>
            </a:extLst>
          </p:cNvPr>
          <p:cNvSpPr>
            <a:spLocks noGrp="1"/>
          </p:cNvSpPr>
          <p:nvPr>
            <p:ph type="body" sz="quarter" idx="66"/>
          </p:nvPr>
        </p:nvSpPr>
        <p:spPr>
          <a:xfrm>
            <a:off x="6066682" y="2725494"/>
            <a:ext cx="2572262" cy="712876"/>
          </a:xfrm>
        </p:spPr>
        <p:txBody>
          <a:bodyPr/>
          <a:lstStyle/>
          <a:p>
            <a:r>
              <a:rPr lang="en-US" noProof="0" dirty="0"/>
              <a:t>Prompt: Create charts to analyze the provided sales data to identify trends in product performance. Include insights on sales volume, revenue generated, and any correlations with price fluctuations.</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4"/>
              </a:rPr>
              <a:t>Try in Prompt Gallery: Set of charts</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noProof="0" dirty="0"/>
          </a:p>
        </p:txBody>
      </p:sp>
      <p:sp>
        <p:nvSpPr>
          <p:cNvPr id="94" name="Text Placeholder 93">
            <a:extLst>
              <a:ext uri="{FF2B5EF4-FFF2-40B4-BE49-F238E27FC236}">
                <a16:creationId xmlns:a16="http://schemas.microsoft.com/office/drawing/2014/main" id="{FC1220DD-4720-6C25-86AA-B6C1AEAF4F1C}"/>
              </a:ext>
            </a:extLst>
          </p:cNvPr>
          <p:cNvSpPr>
            <a:spLocks noGrp="1"/>
          </p:cNvSpPr>
          <p:nvPr>
            <p:ph type="body" sz="quarter" idx="58"/>
          </p:nvPr>
        </p:nvSpPr>
        <p:spPr>
          <a:xfrm>
            <a:off x="4036409" y="3725103"/>
            <a:ext cx="3161734" cy="153888"/>
          </a:xfrm>
        </p:spPr>
        <p:txBody>
          <a:bodyPr/>
          <a:lstStyle/>
          <a:p>
            <a:r>
              <a:rPr lang="en-US" noProof="0"/>
              <a:t>Generate reports and recommendations</a:t>
            </a:r>
          </a:p>
        </p:txBody>
      </p:sp>
      <p:sp>
        <p:nvSpPr>
          <p:cNvPr id="95" name="Text Placeholder 94">
            <a:extLst>
              <a:ext uri="{FF2B5EF4-FFF2-40B4-BE49-F238E27FC236}">
                <a16:creationId xmlns:a16="http://schemas.microsoft.com/office/drawing/2014/main" id="{68D46071-B260-3192-2C47-5E5C5DDC7B05}"/>
              </a:ext>
            </a:extLst>
          </p:cNvPr>
          <p:cNvSpPr>
            <a:spLocks noGrp="1"/>
          </p:cNvSpPr>
          <p:nvPr>
            <p:ph type="body" sz="quarter" idx="59"/>
          </p:nvPr>
        </p:nvSpPr>
        <p:spPr>
          <a:xfrm>
            <a:off x="4036409" y="4050957"/>
            <a:ext cx="3161734" cy="626701"/>
          </a:xfrm>
        </p:spPr>
        <p:txBody>
          <a:bodyPr/>
          <a:lstStyle/>
          <a:p>
            <a:r>
              <a:rPr lang="en-US" noProof="0"/>
              <a:t>Copilot helps draft reports insights for stakeholders and can follow up on approvals.</a:t>
            </a:r>
          </a:p>
          <a:p>
            <a:endParaRPr lang="en-US" noProof="0"/>
          </a:p>
        </p:txBody>
      </p:sp>
      <p:sp>
        <p:nvSpPr>
          <p:cNvPr id="109" name="Text Placeholder 108">
            <a:extLst>
              <a:ext uri="{FF2B5EF4-FFF2-40B4-BE49-F238E27FC236}">
                <a16:creationId xmlns:a16="http://schemas.microsoft.com/office/drawing/2014/main" id="{4E2A641F-788E-66E4-048A-60C8DC397C7D}"/>
              </a:ext>
            </a:extLst>
          </p:cNvPr>
          <p:cNvSpPr>
            <a:spLocks noGrp="1"/>
          </p:cNvSpPr>
          <p:nvPr>
            <p:ph type="body" sz="quarter" idx="69"/>
          </p:nvPr>
        </p:nvSpPr>
        <p:spPr>
          <a:xfrm>
            <a:off x="7507483" y="5338502"/>
            <a:ext cx="3161734" cy="712876"/>
          </a:xfrm>
        </p:spPr>
        <p:txBody>
          <a:bodyPr/>
          <a:lstStyle/>
          <a:p>
            <a:r>
              <a:rPr lang="en-US" noProof="0"/>
              <a:t>Prompt: Produce a table of products that fall in the range of price per unit of $1 to $5 including monthly sales data for the past six months.</a:t>
            </a:r>
          </a:p>
        </p:txBody>
      </p:sp>
      <p:sp>
        <p:nvSpPr>
          <p:cNvPr id="97" name="Text Placeholder 96">
            <a:extLst>
              <a:ext uri="{FF2B5EF4-FFF2-40B4-BE49-F238E27FC236}">
                <a16:creationId xmlns:a16="http://schemas.microsoft.com/office/drawing/2014/main" id="{CC83F47A-1A67-03F8-AFAA-BE5F9AF0A3DB}"/>
              </a:ext>
            </a:extLst>
          </p:cNvPr>
          <p:cNvSpPr>
            <a:spLocks noGrp="1"/>
          </p:cNvSpPr>
          <p:nvPr>
            <p:ph type="body" sz="quarter" idx="61"/>
          </p:nvPr>
        </p:nvSpPr>
        <p:spPr>
          <a:xfrm>
            <a:off x="7507483" y="3725103"/>
            <a:ext cx="3161734" cy="153888"/>
          </a:xfrm>
        </p:spPr>
        <p:txBody>
          <a:bodyPr/>
          <a:lstStyle/>
          <a:p>
            <a:r>
              <a:rPr lang="en-US" noProof="0"/>
              <a:t>Compare and review product mix</a:t>
            </a:r>
          </a:p>
        </p:txBody>
      </p:sp>
      <p:sp>
        <p:nvSpPr>
          <p:cNvPr id="98" name="Text Placeholder 97">
            <a:extLst>
              <a:ext uri="{FF2B5EF4-FFF2-40B4-BE49-F238E27FC236}">
                <a16:creationId xmlns:a16="http://schemas.microsoft.com/office/drawing/2014/main" id="{45FD3D12-38BD-06F8-2626-0D3D9A48DE69}"/>
              </a:ext>
            </a:extLst>
          </p:cNvPr>
          <p:cNvSpPr>
            <a:spLocks noGrp="1"/>
          </p:cNvSpPr>
          <p:nvPr>
            <p:ph type="body" sz="quarter" idx="62"/>
          </p:nvPr>
        </p:nvSpPr>
        <p:spPr>
          <a:xfrm>
            <a:off x="7507483" y="4050957"/>
            <a:ext cx="3161734" cy="626701"/>
          </a:xfrm>
        </p:spPr>
        <p:txBody>
          <a:bodyPr/>
          <a:lstStyle/>
          <a:p>
            <a:r>
              <a:rPr lang="en-US" noProof="0"/>
              <a:t>Copilot can assist in curating a product mix by comparing product prices with customer spending trends and style preferences.</a:t>
            </a:r>
          </a:p>
        </p:txBody>
      </p:sp>
      <p:sp>
        <p:nvSpPr>
          <p:cNvPr id="96" name="Text Placeholder 95">
            <a:extLst>
              <a:ext uri="{FF2B5EF4-FFF2-40B4-BE49-F238E27FC236}">
                <a16:creationId xmlns:a16="http://schemas.microsoft.com/office/drawing/2014/main" id="{D3E492E4-59EB-9044-9B77-1117AF430B0D}"/>
              </a:ext>
            </a:extLst>
          </p:cNvPr>
          <p:cNvSpPr>
            <a:spLocks noGrp="1"/>
          </p:cNvSpPr>
          <p:nvPr>
            <p:ph type="body" sz="quarter" idx="68"/>
          </p:nvPr>
        </p:nvSpPr>
        <p:spPr>
          <a:xfrm>
            <a:off x="4036409" y="5338502"/>
            <a:ext cx="3161734" cy="712876"/>
          </a:xfrm>
        </p:spPr>
        <p:txBody>
          <a:bodyPr/>
          <a:lstStyle/>
          <a:p>
            <a:r>
              <a:rPr lang="en-US" noProof="0"/>
              <a:t>Prompt: Draft a report with visuals for the proposals of revenue mix, product mix, and discounts.</a:t>
            </a:r>
          </a:p>
        </p:txBody>
      </p:sp>
      <p:sp>
        <p:nvSpPr>
          <p:cNvPr id="175" name="Text Placeholder 174">
            <a:extLst>
              <a:ext uri="{FF2B5EF4-FFF2-40B4-BE49-F238E27FC236}">
                <a16:creationId xmlns:a16="http://schemas.microsoft.com/office/drawing/2014/main" id="{3CAE1271-36E2-13FF-90F0-BEF2AC059B6C}"/>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76" name="Text Placeholder 175">
            <a:extLst>
              <a:ext uri="{FF2B5EF4-FFF2-40B4-BE49-F238E27FC236}">
                <a16:creationId xmlns:a16="http://schemas.microsoft.com/office/drawing/2014/main" id="{9D509BE1-564B-2322-2F44-6CB15C872688}"/>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83" name="Text Placeholder 82">
            <a:extLst>
              <a:ext uri="{FF2B5EF4-FFF2-40B4-BE49-F238E27FC236}">
                <a16:creationId xmlns:a16="http://schemas.microsoft.com/office/drawing/2014/main" id="{19A0371C-5202-C51C-7799-AE5753853C32}"/>
              </a:ext>
            </a:extLst>
          </p:cNvPr>
          <p:cNvSpPr>
            <a:spLocks noGrp="1"/>
          </p:cNvSpPr>
          <p:nvPr>
            <p:ph type="body" sz="quarter" idx="33"/>
          </p:nvPr>
        </p:nvSpPr>
        <p:spPr>
          <a:xfrm>
            <a:off x="304796" y="413987"/>
            <a:ext cx="1941119" cy="307777"/>
          </a:xfrm>
        </p:spPr>
        <p:txBody>
          <a:bodyPr/>
          <a:lstStyle/>
          <a:p>
            <a:r>
              <a:rPr lang="en-US"/>
              <a:t>Retail</a:t>
            </a:r>
          </a:p>
        </p:txBody>
      </p:sp>
      <p:sp>
        <p:nvSpPr>
          <p:cNvPr id="75" name="Title 74">
            <a:extLst>
              <a:ext uri="{FF2B5EF4-FFF2-40B4-BE49-F238E27FC236}">
                <a16:creationId xmlns:a16="http://schemas.microsoft.com/office/drawing/2014/main" id="{4ACAD353-9AA6-DF7E-665B-294730E33D4F}"/>
              </a:ext>
            </a:extLst>
          </p:cNvPr>
          <p:cNvSpPr>
            <a:spLocks noGrp="1"/>
          </p:cNvSpPr>
          <p:nvPr>
            <p:ph type="title"/>
          </p:nvPr>
        </p:nvSpPr>
        <p:spPr>
          <a:xfrm>
            <a:off x="2492556" y="429376"/>
            <a:ext cx="4144817" cy="276999"/>
          </a:xfrm>
        </p:spPr>
        <p:txBody>
          <a:bodyPr/>
          <a:lstStyle/>
          <a:p>
            <a:r>
              <a:rPr lang="en-US"/>
              <a:t>Implement adaptive pricing</a:t>
            </a:r>
          </a:p>
        </p:txBody>
      </p:sp>
      <p:grpSp>
        <p:nvGrpSpPr>
          <p:cNvPr id="112" name="Group 111">
            <a:extLst>
              <a:ext uri="{FF2B5EF4-FFF2-40B4-BE49-F238E27FC236}">
                <a16:creationId xmlns:a16="http://schemas.microsoft.com/office/drawing/2014/main" id="{58078D2A-1DE0-9763-9394-64AD894576CD}"/>
              </a:ext>
            </a:extLst>
          </p:cNvPr>
          <p:cNvGrpSpPr/>
          <p:nvPr/>
        </p:nvGrpSpPr>
        <p:grpSpPr>
          <a:xfrm>
            <a:off x="320719" y="5020658"/>
            <a:ext cx="1771605" cy="216000"/>
            <a:chOff x="320719" y="4224856"/>
            <a:chExt cx="1771605" cy="219456"/>
          </a:xfrm>
        </p:grpSpPr>
        <p:sp>
          <p:nvSpPr>
            <p:cNvPr id="113" name="Rectangle: Rounded Corners 6">
              <a:extLst>
                <a:ext uri="{FF2B5EF4-FFF2-40B4-BE49-F238E27FC236}">
                  <a16:creationId xmlns:a16="http://schemas.microsoft.com/office/drawing/2014/main" id="{AD79F516-BFCB-A9BF-7810-DD28B851098A}"/>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18" name="Graphic 117">
              <a:extLst>
                <a:ext uri="{FF2B5EF4-FFF2-40B4-BE49-F238E27FC236}">
                  <a16:creationId xmlns:a16="http://schemas.microsoft.com/office/drawing/2014/main" id="{A5AD8166-9CB4-AA4C-7480-530C8BE825F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4260849"/>
              <a:ext cx="144000" cy="144000"/>
            </a:xfrm>
            <a:prstGeom prst="rect">
              <a:avLst/>
            </a:prstGeom>
          </p:spPr>
        </p:pic>
      </p:grpSp>
      <p:grpSp>
        <p:nvGrpSpPr>
          <p:cNvPr id="119" name="Group 118">
            <a:extLst>
              <a:ext uri="{FF2B5EF4-FFF2-40B4-BE49-F238E27FC236}">
                <a16:creationId xmlns:a16="http://schemas.microsoft.com/office/drawing/2014/main" id="{EC36850A-00B1-5E6B-DE35-7BB2D176CDC1}"/>
              </a:ext>
            </a:extLst>
          </p:cNvPr>
          <p:cNvGrpSpPr/>
          <p:nvPr/>
        </p:nvGrpSpPr>
        <p:grpSpPr>
          <a:xfrm>
            <a:off x="320721" y="5309272"/>
            <a:ext cx="1771605" cy="216000"/>
            <a:chOff x="320721" y="4517211"/>
            <a:chExt cx="1771605" cy="216000"/>
          </a:xfrm>
        </p:grpSpPr>
        <p:sp>
          <p:nvSpPr>
            <p:cNvPr id="120" name="Rectangle: Rounded Corners 6">
              <a:extLst>
                <a:ext uri="{FF2B5EF4-FFF2-40B4-BE49-F238E27FC236}">
                  <a16:creationId xmlns:a16="http://schemas.microsoft.com/office/drawing/2014/main" id="{1E3D0BB8-4285-AA1E-C238-D99E6320CB27}"/>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Increase revenue</a:t>
              </a:r>
            </a:p>
          </p:txBody>
        </p:sp>
        <p:pic>
          <p:nvPicPr>
            <p:cNvPr id="121" name="Graphic 120">
              <a:extLst>
                <a:ext uri="{FF2B5EF4-FFF2-40B4-BE49-F238E27FC236}">
                  <a16:creationId xmlns:a16="http://schemas.microsoft.com/office/drawing/2014/main" id="{CFCE2535-E532-78B0-6744-34CE6FC836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7507" y="4552645"/>
              <a:ext cx="144000" cy="141732"/>
            </a:xfrm>
            <a:prstGeom prst="rect">
              <a:avLst/>
            </a:prstGeom>
          </p:spPr>
        </p:pic>
      </p:grpSp>
      <p:grpSp>
        <p:nvGrpSpPr>
          <p:cNvPr id="122" name="Group 121">
            <a:extLst>
              <a:ext uri="{FF2B5EF4-FFF2-40B4-BE49-F238E27FC236}">
                <a16:creationId xmlns:a16="http://schemas.microsoft.com/office/drawing/2014/main" id="{ACB9D5AF-9E88-21BA-DCE1-63F5BBEBBAEC}"/>
              </a:ext>
            </a:extLst>
          </p:cNvPr>
          <p:cNvGrpSpPr/>
          <p:nvPr/>
        </p:nvGrpSpPr>
        <p:grpSpPr>
          <a:xfrm>
            <a:off x="320719" y="3778836"/>
            <a:ext cx="1771605" cy="216000"/>
            <a:chOff x="320719" y="4224856"/>
            <a:chExt cx="1771605" cy="219456"/>
          </a:xfrm>
        </p:grpSpPr>
        <p:sp>
          <p:nvSpPr>
            <p:cNvPr id="123" name="Rectangle: Rounded Corners 6">
              <a:extLst>
                <a:ext uri="{FF2B5EF4-FFF2-40B4-BE49-F238E27FC236}">
                  <a16:creationId xmlns:a16="http://schemas.microsoft.com/office/drawing/2014/main" id="{E18481BB-1082-37EF-8E78-C612AD7C19D5}"/>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124" name="Graphic 123">
              <a:extLst>
                <a:ext uri="{FF2B5EF4-FFF2-40B4-BE49-F238E27FC236}">
                  <a16:creationId xmlns:a16="http://schemas.microsoft.com/office/drawing/2014/main" id="{04774A1D-81D0-CADD-5DDD-AD4172D595D4}"/>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67506" y="4260849"/>
              <a:ext cx="144000" cy="144000"/>
            </a:xfrm>
            <a:prstGeom prst="rect">
              <a:avLst/>
            </a:prstGeom>
          </p:spPr>
        </p:pic>
      </p:grpSp>
      <p:grpSp>
        <p:nvGrpSpPr>
          <p:cNvPr id="125" name="Group 124">
            <a:extLst>
              <a:ext uri="{FF2B5EF4-FFF2-40B4-BE49-F238E27FC236}">
                <a16:creationId xmlns:a16="http://schemas.microsoft.com/office/drawing/2014/main" id="{F473EFAA-E9C5-5DDF-EC69-063C54957097}"/>
              </a:ext>
            </a:extLst>
          </p:cNvPr>
          <p:cNvGrpSpPr/>
          <p:nvPr/>
        </p:nvGrpSpPr>
        <p:grpSpPr>
          <a:xfrm>
            <a:off x="320721" y="4067450"/>
            <a:ext cx="1771605" cy="216000"/>
            <a:chOff x="320721" y="4517211"/>
            <a:chExt cx="1771605" cy="216000"/>
          </a:xfrm>
        </p:grpSpPr>
        <p:sp>
          <p:nvSpPr>
            <p:cNvPr id="126" name="Rectangle: Rounded Corners 6">
              <a:extLst>
                <a:ext uri="{FF2B5EF4-FFF2-40B4-BE49-F238E27FC236}">
                  <a16:creationId xmlns:a16="http://schemas.microsoft.com/office/drawing/2014/main" id="{09C96A31-4910-52AC-5BB8-53D01D6BB8D2}"/>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ustomer satisfaction</a:t>
              </a:r>
            </a:p>
          </p:txBody>
        </p:sp>
        <p:pic>
          <p:nvPicPr>
            <p:cNvPr id="127" name="Graphic 126">
              <a:extLst>
                <a:ext uri="{FF2B5EF4-FFF2-40B4-BE49-F238E27FC236}">
                  <a16:creationId xmlns:a16="http://schemas.microsoft.com/office/drawing/2014/main" id="{E2A11471-FBA8-675A-2EAD-675E3937E23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7507" y="4552645"/>
              <a:ext cx="144000" cy="141732"/>
            </a:xfrm>
            <a:prstGeom prst="rect">
              <a:avLst/>
            </a:prstGeom>
          </p:spPr>
        </p:pic>
      </p:grpSp>
      <p:grpSp>
        <p:nvGrpSpPr>
          <p:cNvPr id="128" name="Group 127">
            <a:extLst>
              <a:ext uri="{FF2B5EF4-FFF2-40B4-BE49-F238E27FC236}">
                <a16:creationId xmlns:a16="http://schemas.microsoft.com/office/drawing/2014/main" id="{599B5BBA-7F18-D68D-0C23-FEF850CE4138}"/>
              </a:ext>
            </a:extLst>
          </p:cNvPr>
          <p:cNvGrpSpPr/>
          <p:nvPr/>
        </p:nvGrpSpPr>
        <p:grpSpPr>
          <a:xfrm>
            <a:off x="320719" y="4356602"/>
            <a:ext cx="1771605" cy="216000"/>
            <a:chOff x="320719" y="4224856"/>
            <a:chExt cx="1771605" cy="219456"/>
          </a:xfrm>
        </p:grpSpPr>
        <p:sp>
          <p:nvSpPr>
            <p:cNvPr id="129" name="Rectangle: Rounded Corners 6">
              <a:extLst>
                <a:ext uri="{FF2B5EF4-FFF2-40B4-BE49-F238E27FC236}">
                  <a16:creationId xmlns:a16="http://schemas.microsoft.com/office/drawing/2014/main" id="{A5D3456C-FF50-669D-1954-9D2C46DA896D}"/>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onversion rate</a:t>
              </a:r>
            </a:p>
          </p:txBody>
        </p:sp>
        <p:pic>
          <p:nvPicPr>
            <p:cNvPr id="130" name="Graphic 129">
              <a:extLst>
                <a:ext uri="{FF2B5EF4-FFF2-40B4-BE49-F238E27FC236}">
                  <a16:creationId xmlns:a16="http://schemas.microsoft.com/office/drawing/2014/main" id="{A7EC7E62-8AF7-6B87-DE48-E0A4AE4E041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67506" y="4260849"/>
              <a:ext cx="144000" cy="144000"/>
            </a:xfrm>
            <a:prstGeom prst="rect">
              <a:avLst/>
            </a:prstGeom>
          </p:spPr>
        </p:pic>
      </p:grpSp>
      <p:pic>
        <p:nvPicPr>
          <p:cNvPr id="28" name="Graphic 27">
            <a:extLst>
              <a:ext uri="{FF2B5EF4-FFF2-40B4-BE49-F238E27FC236}">
                <a16:creationId xmlns:a16="http://schemas.microsoft.com/office/drawing/2014/main" id="{7C603880-87F4-736D-F075-071F2650D4D3}"/>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5682" b="-5682"/>
          <a:stretch/>
        </p:blipFill>
        <p:spPr>
          <a:xfrm>
            <a:off x="6066682" y="2217886"/>
            <a:ext cx="220682" cy="220682"/>
          </a:xfrm>
          <a:prstGeom prst="rect">
            <a:avLst/>
          </a:prstGeom>
        </p:spPr>
      </p:pic>
      <p:sp>
        <p:nvSpPr>
          <p:cNvPr id="29" name="TextBox 28">
            <a:extLst>
              <a:ext uri="{FF2B5EF4-FFF2-40B4-BE49-F238E27FC236}">
                <a16:creationId xmlns:a16="http://schemas.microsoft.com/office/drawing/2014/main" id="{E645A1DE-A8C8-3282-EF19-2C4BF9F61A62}"/>
              </a:ext>
              <a:ext uri="{C183D7F6-B498-43B3-948B-1728B52AA6E4}">
                <adec:decorative xmlns:adec="http://schemas.microsoft.com/office/drawing/2017/decorative" val="0"/>
              </a:ext>
            </a:extLst>
          </p:cNvPr>
          <p:cNvSpPr txBox="1"/>
          <p:nvPr/>
        </p:nvSpPr>
        <p:spPr>
          <a:xfrm>
            <a:off x="6445284" y="2101850"/>
            <a:ext cx="1830524" cy="4527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Excel</a:t>
            </a:r>
          </a:p>
        </p:txBody>
      </p:sp>
      <p:sp>
        <p:nvSpPr>
          <p:cNvPr id="30" name="TextBox 29">
            <a:extLst>
              <a:ext uri="{FF2B5EF4-FFF2-40B4-BE49-F238E27FC236}">
                <a16:creationId xmlns:a16="http://schemas.microsoft.com/office/drawing/2014/main" id="{84676DCC-76F5-F6F3-5332-689DE02ADB08}"/>
              </a:ext>
              <a:ext uri="{C183D7F6-B498-43B3-948B-1728B52AA6E4}">
                <adec:decorative xmlns:adec="http://schemas.microsoft.com/office/drawing/2017/decorative" val="0"/>
              </a:ext>
            </a:extLst>
          </p:cNvPr>
          <p:cNvSpPr txBox="1"/>
          <p:nvPr/>
        </p:nvSpPr>
        <p:spPr>
          <a:xfrm>
            <a:off x="9329077" y="2101850"/>
            <a:ext cx="1830524" cy="4527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Excel</a:t>
            </a:r>
          </a:p>
        </p:txBody>
      </p:sp>
      <p:sp>
        <p:nvSpPr>
          <p:cNvPr id="31" name="TextBox 30">
            <a:extLst>
              <a:ext uri="{FF2B5EF4-FFF2-40B4-BE49-F238E27FC236}">
                <a16:creationId xmlns:a16="http://schemas.microsoft.com/office/drawing/2014/main" id="{13A94D3F-2FBB-22C1-8BD5-DC4B1F97A340}"/>
              </a:ext>
              <a:ext uri="{C183D7F6-B498-43B3-948B-1728B52AA6E4}">
                <adec:decorative xmlns:adec="http://schemas.microsoft.com/office/drawing/2017/decorative" val="0"/>
              </a:ext>
            </a:extLst>
          </p:cNvPr>
          <p:cNvSpPr txBox="1">
            <a:spLocks/>
          </p:cNvSpPr>
          <p:nvPr/>
        </p:nvSpPr>
        <p:spPr>
          <a:xfrm>
            <a:off x="3552452" y="2101850"/>
            <a:ext cx="1490793" cy="4527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32" name="Picture 50">
            <a:hlinkClick r:id="rId11"/>
            <a:extLst>
              <a:ext uri="{FF2B5EF4-FFF2-40B4-BE49-F238E27FC236}">
                <a16:creationId xmlns:a16="http://schemas.microsoft.com/office/drawing/2014/main" id="{BBF92097-8D24-DD4F-9D0C-48BC5B7AF33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182890" y="2207040"/>
            <a:ext cx="242374" cy="242374"/>
          </a:xfrm>
          <a:prstGeom prst="rect">
            <a:avLst/>
          </a:prstGeom>
          <a:noFill/>
          <a:extLst>
            <a:ext uri="{909E8E84-426E-40DD-AFC4-6F175D3DCCD1}">
              <a14:hiddenFill xmlns:a14="http://schemas.microsoft.com/office/drawing/2010/main">
                <a:solidFill>
                  <a:srgbClr val="FFFFFF"/>
                </a:solidFill>
              </a14:hiddenFill>
            </a:ext>
          </a:extLst>
        </p:spPr>
      </p:pic>
      <p:pic>
        <p:nvPicPr>
          <p:cNvPr id="33" name="Graphic 32">
            <a:extLst>
              <a:ext uri="{FF2B5EF4-FFF2-40B4-BE49-F238E27FC236}">
                <a16:creationId xmlns:a16="http://schemas.microsoft.com/office/drawing/2014/main" id="{87343093-05D0-58EB-44F1-DB7A285F42BC}"/>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5682" b="-5682"/>
          <a:stretch/>
        </p:blipFill>
        <p:spPr>
          <a:xfrm>
            <a:off x="8950325" y="2217886"/>
            <a:ext cx="220682" cy="220682"/>
          </a:xfrm>
          <a:prstGeom prst="rect">
            <a:avLst/>
          </a:prstGeom>
        </p:spPr>
      </p:pic>
      <p:sp>
        <p:nvSpPr>
          <p:cNvPr id="179" name="TextBox 178">
            <a:extLst>
              <a:ext uri="{FF2B5EF4-FFF2-40B4-BE49-F238E27FC236}">
                <a16:creationId xmlns:a16="http://schemas.microsoft.com/office/drawing/2014/main" id="{35816CCB-8FFC-81C4-5ECB-AF8EC6BE5E85}"/>
              </a:ext>
              <a:ext uri="{C183D7F6-B498-43B3-948B-1728B52AA6E4}">
                <adec:decorative xmlns:adec="http://schemas.microsoft.com/office/drawing/2017/decorative" val="0"/>
              </a:ext>
            </a:extLst>
          </p:cNvPr>
          <p:cNvSpPr txBox="1"/>
          <p:nvPr/>
        </p:nvSpPr>
        <p:spPr>
          <a:xfrm>
            <a:off x="7866234" y="4748149"/>
            <a:ext cx="2803354" cy="40011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Retail ERP system</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Product Information Management system</a:t>
            </a:r>
          </a:p>
        </p:txBody>
      </p:sp>
      <p:pic>
        <p:nvPicPr>
          <p:cNvPr id="35" name="Picture 34">
            <a:extLst>
              <a:ext uri="{FF2B5EF4-FFF2-40B4-BE49-F238E27FC236}">
                <a16:creationId xmlns:a16="http://schemas.microsoft.com/office/drawing/2014/main" id="{4808A624-6B18-4040-C8A0-4287F913707E}"/>
              </a:ext>
              <a:ext uri="{C183D7F6-B498-43B3-948B-1728B52AA6E4}">
                <adec:decorative xmlns:adec="http://schemas.microsoft.com/office/drawing/2017/decorative" val="0"/>
              </a:ext>
            </a:extLst>
          </p:cNvPr>
          <p:cNvPicPr>
            <a:picLocks noChangeAspect="1"/>
          </p:cNvPicPr>
          <p:nvPr/>
        </p:nvPicPr>
        <p:blipFill rotWithShape="1">
          <a:blip r:embed="rId13"/>
          <a:srcRect b="3736"/>
          <a:stretch/>
        </p:blipFill>
        <p:spPr>
          <a:xfrm>
            <a:off x="7507288" y="4840226"/>
            <a:ext cx="224338" cy="215956"/>
          </a:xfrm>
          <a:prstGeom prst="rect">
            <a:avLst/>
          </a:prstGeom>
          <a:ln w="6657" cap="flat">
            <a:noFill/>
            <a:prstDash val="solid"/>
            <a:miter/>
          </a:ln>
          <a:effectLst/>
        </p:spPr>
      </p:pic>
      <p:sp>
        <p:nvSpPr>
          <p:cNvPr id="36" name="TextBox 35">
            <a:extLst>
              <a:ext uri="{FF2B5EF4-FFF2-40B4-BE49-F238E27FC236}">
                <a16:creationId xmlns:a16="http://schemas.microsoft.com/office/drawing/2014/main" id="{372D1D41-627F-877E-3F23-2B8C6768DEA8}"/>
              </a:ext>
              <a:ext uri="{C183D7F6-B498-43B3-948B-1728B52AA6E4}">
                <adec:decorative xmlns:adec="http://schemas.microsoft.com/office/drawing/2017/decorative" val="0"/>
              </a:ext>
            </a:extLst>
          </p:cNvPr>
          <p:cNvSpPr txBox="1"/>
          <p:nvPr/>
        </p:nvSpPr>
        <p:spPr>
          <a:xfrm>
            <a:off x="4415011" y="488446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37" name="Picture 50">
            <a:hlinkClick r:id="rId11"/>
            <a:extLst>
              <a:ext uri="{FF2B5EF4-FFF2-40B4-BE49-F238E27FC236}">
                <a16:creationId xmlns:a16="http://schemas.microsoft.com/office/drawing/2014/main" id="{DF8A9B7E-65E8-A3AB-441A-919A4827C38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036409" y="4840226"/>
            <a:ext cx="242374" cy="242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927705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 name="Text Placeholder 218">
            <a:extLst>
              <a:ext uri="{FF2B5EF4-FFF2-40B4-BE49-F238E27FC236}">
                <a16:creationId xmlns:a16="http://schemas.microsoft.com/office/drawing/2014/main" id="{519CC78D-00F6-0F35-909B-FEA05D2EB066}"/>
              </a:ext>
            </a:extLst>
          </p:cNvPr>
          <p:cNvSpPr>
            <a:spLocks noGrp="1"/>
          </p:cNvSpPr>
          <p:nvPr>
            <p:ph type="body" sz="quarter" idx="32"/>
          </p:nvPr>
        </p:nvSpPr>
        <p:spPr>
          <a:xfrm>
            <a:off x="311388" y="1026303"/>
            <a:ext cx="2431246" cy="1131079"/>
          </a:xfrm>
        </p:spPr>
        <p:txBody>
          <a:bodyPr/>
          <a:lstStyle/>
          <a:p>
            <a:r>
              <a:rPr lang="en-US" noProof="0" dirty="0"/>
              <a:t>Reduce the time spent on market research by using AI for help with analysis and collaboration when updating marketing strategies.</a:t>
            </a:r>
          </a:p>
        </p:txBody>
      </p:sp>
      <p:sp>
        <p:nvSpPr>
          <p:cNvPr id="54" name="Text Placeholder 53">
            <a:extLst>
              <a:ext uri="{FF2B5EF4-FFF2-40B4-BE49-F238E27FC236}">
                <a16:creationId xmlns:a16="http://schemas.microsoft.com/office/drawing/2014/main" id="{78EBB2AE-AF4F-A26F-8769-3F225633296B}"/>
              </a:ext>
            </a:extLst>
          </p:cNvPr>
          <p:cNvSpPr>
            <a:spLocks noGrp="1"/>
          </p:cNvSpPr>
          <p:nvPr>
            <p:ph type="body" sz="quarter" idx="33"/>
          </p:nvPr>
        </p:nvSpPr>
        <p:spPr>
          <a:xfrm>
            <a:off x="304796" y="413987"/>
            <a:ext cx="2057403" cy="307777"/>
          </a:xfrm>
        </p:spPr>
        <p:txBody>
          <a:bodyPr/>
          <a:lstStyle/>
          <a:p>
            <a:r>
              <a:rPr lang="en-US"/>
              <a:t>Retail</a:t>
            </a:r>
          </a:p>
        </p:txBody>
      </p:sp>
      <p:sp>
        <p:nvSpPr>
          <p:cNvPr id="52" name="Text Placeholder 51">
            <a:extLst>
              <a:ext uri="{FF2B5EF4-FFF2-40B4-BE49-F238E27FC236}">
                <a16:creationId xmlns:a16="http://schemas.microsoft.com/office/drawing/2014/main" id="{5E383EF9-066D-A9C9-5FCC-BC156AF7E28B}"/>
              </a:ext>
            </a:extLst>
          </p:cNvPr>
          <p:cNvSpPr>
            <a:spLocks noGrp="1"/>
          </p:cNvSpPr>
          <p:nvPr>
            <p:ph type="body" sz="quarter" idx="30"/>
          </p:nvPr>
        </p:nvSpPr>
        <p:spPr>
          <a:xfrm>
            <a:off x="10430351" y="521099"/>
            <a:ext cx="1456966" cy="175614"/>
          </a:xfrm>
        </p:spPr>
        <p:txBody>
          <a:bodyPr/>
          <a:lstStyle/>
          <a:p>
            <a:r>
              <a:rPr lang="en-US" noProof="0"/>
              <a:t>Buy</a:t>
            </a:r>
          </a:p>
        </p:txBody>
      </p:sp>
      <p:sp>
        <p:nvSpPr>
          <p:cNvPr id="43" name="Text Placeholder 42">
            <a:extLst>
              <a:ext uri="{FF2B5EF4-FFF2-40B4-BE49-F238E27FC236}">
                <a16:creationId xmlns:a16="http://schemas.microsoft.com/office/drawing/2014/main" id="{F1DB2A4F-71A1-A1B5-2073-D68885FBC5DA}"/>
              </a:ext>
            </a:extLst>
          </p:cNvPr>
          <p:cNvSpPr>
            <a:spLocks noGrp="1"/>
          </p:cNvSpPr>
          <p:nvPr>
            <p:ph type="body" sz="quarter" idx="17"/>
          </p:nvPr>
        </p:nvSpPr>
        <p:spPr>
          <a:xfrm>
            <a:off x="7149557" y="521100"/>
            <a:ext cx="2969488" cy="169277"/>
          </a:xfrm>
        </p:spPr>
        <p:txBody>
          <a:bodyPr/>
          <a:lstStyle/>
          <a:p>
            <a:r>
              <a:rPr lang="en-US" noProof="0"/>
              <a:t>Microsoft 365 Copilot</a:t>
            </a:r>
          </a:p>
        </p:txBody>
      </p:sp>
      <p:sp>
        <p:nvSpPr>
          <p:cNvPr id="41" name="Title 40">
            <a:extLst>
              <a:ext uri="{FF2B5EF4-FFF2-40B4-BE49-F238E27FC236}">
                <a16:creationId xmlns:a16="http://schemas.microsoft.com/office/drawing/2014/main" id="{A762A064-B6B7-8A93-97E6-A7072D0479BE}"/>
              </a:ext>
            </a:extLst>
          </p:cNvPr>
          <p:cNvSpPr>
            <a:spLocks noGrp="1"/>
          </p:cNvSpPr>
          <p:nvPr>
            <p:ph type="title"/>
          </p:nvPr>
        </p:nvSpPr>
        <p:spPr>
          <a:xfrm>
            <a:off x="2492375" y="290533"/>
            <a:ext cx="3574307" cy="553998"/>
          </a:xfrm>
        </p:spPr>
        <p:txBody>
          <a:bodyPr/>
          <a:lstStyle/>
          <a:p>
            <a:r>
              <a:rPr lang="en-US" dirty="0"/>
              <a:t>Streamline market research and strategy</a:t>
            </a:r>
          </a:p>
        </p:txBody>
      </p:sp>
      <p:sp>
        <p:nvSpPr>
          <p:cNvPr id="131" name="Text Placeholder 130">
            <a:extLst>
              <a:ext uri="{FF2B5EF4-FFF2-40B4-BE49-F238E27FC236}">
                <a16:creationId xmlns:a16="http://schemas.microsoft.com/office/drawing/2014/main" id="{78B5733C-A6C9-FFB3-5742-DB0CEE205B85}"/>
              </a:ext>
            </a:extLst>
          </p:cNvPr>
          <p:cNvSpPr>
            <a:spLocks noGrp="1"/>
          </p:cNvSpPr>
          <p:nvPr>
            <p:ph type="body" sz="quarter" idx="69"/>
          </p:nvPr>
        </p:nvSpPr>
        <p:spPr>
          <a:xfrm>
            <a:off x="3182890" y="2725494"/>
            <a:ext cx="2572262" cy="712876"/>
          </a:xfrm>
        </p:spPr>
        <p:txBody>
          <a:bodyPr/>
          <a:lstStyle/>
          <a:p>
            <a:r>
              <a:rPr lang="en-US" noProof="0"/>
              <a:t>Benefit: </a:t>
            </a:r>
            <a:r>
              <a:rPr lang="en-US" noProof="0">
                <a:latin typeface="+mj-lt"/>
              </a:rPr>
              <a:t>Summarize</a:t>
            </a:r>
            <a:r>
              <a:rPr lang="en-US" noProof="0"/>
              <a:t> many types of documents, including PDFs and website content, making it easier to consume dense content online.</a:t>
            </a:r>
          </a:p>
        </p:txBody>
      </p:sp>
      <p:sp>
        <p:nvSpPr>
          <p:cNvPr id="42" name="Text Placeholder 41">
            <a:extLst>
              <a:ext uri="{FF2B5EF4-FFF2-40B4-BE49-F238E27FC236}">
                <a16:creationId xmlns:a16="http://schemas.microsoft.com/office/drawing/2014/main" id="{845B8E3E-9CC2-7423-7B47-4978D67A2119}"/>
              </a:ext>
            </a:extLst>
          </p:cNvPr>
          <p:cNvSpPr>
            <a:spLocks noGrp="1"/>
          </p:cNvSpPr>
          <p:nvPr>
            <p:ph type="body" sz="quarter" idx="11"/>
          </p:nvPr>
        </p:nvSpPr>
        <p:spPr>
          <a:xfrm>
            <a:off x="3182890" y="1112478"/>
            <a:ext cx="2572262" cy="153888"/>
          </a:xfrm>
        </p:spPr>
        <p:txBody>
          <a:bodyPr/>
          <a:lstStyle/>
          <a:p>
            <a:r>
              <a:rPr lang="en-US" noProof="0"/>
              <a:t>Define the objective</a:t>
            </a:r>
          </a:p>
        </p:txBody>
      </p:sp>
      <p:sp>
        <p:nvSpPr>
          <p:cNvPr id="51" name="Text Placeholder 50">
            <a:extLst>
              <a:ext uri="{FF2B5EF4-FFF2-40B4-BE49-F238E27FC236}">
                <a16:creationId xmlns:a16="http://schemas.microsoft.com/office/drawing/2014/main" id="{87FE97CB-3076-7047-2A18-981026CD4957}"/>
              </a:ext>
            </a:extLst>
          </p:cNvPr>
          <p:cNvSpPr>
            <a:spLocks noGrp="1"/>
          </p:cNvSpPr>
          <p:nvPr>
            <p:ph type="body" sz="quarter" idx="18"/>
          </p:nvPr>
        </p:nvSpPr>
        <p:spPr>
          <a:xfrm>
            <a:off x="3182890" y="1438715"/>
            <a:ext cx="2572262" cy="626701"/>
          </a:xfrm>
        </p:spPr>
        <p:txBody>
          <a:bodyPr/>
          <a:lstStyle/>
          <a:p>
            <a:r>
              <a:rPr lang="en-US" sz="850" noProof="0"/>
              <a:t>Prepare a brief for your upcoming research by using Copilot to write a first draft based on key documents.</a:t>
            </a:r>
          </a:p>
          <a:p>
            <a:endParaRPr lang="en-US" sz="850" noProof="0"/>
          </a:p>
        </p:txBody>
      </p:sp>
      <p:sp>
        <p:nvSpPr>
          <p:cNvPr id="56" name="Text Placeholder 55">
            <a:extLst>
              <a:ext uri="{FF2B5EF4-FFF2-40B4-BE49-F238E27FC236}">
                <a16:creationId xmlns:a16="http://schemas.microsoft.com/office/drawing/2014/main" id="{E448D9D6-044D-4014-4B6A-DAC1A557967B}"/>
              </a:ext>
            </a:extLst>
          </p:cNvPr>
          <p:cNvSpPr>
            <a:spLocks noGrp="1"/>
          </p:cNvSpPr>
          <p:nvPr>
            <p:ph type="body" sz="quarter" idx="42"/>
          </p:nvPr>
        </p:nvSpPr>
        <p:spPr>
          <a:xfrm>
            <a:off x="6066682" y="1112478"/>
            <a:ext cx="2572262" cy="153888"/>
          </a:xfrm>
        </p:spPr>
        <p:txBody>
          <a:bodyPr/>
          <a:lstStyle/>
          <a:p>
            <a:r>
              <a:rPr lang="en-US" noProof="0"/>
              <a:t>Determine your approach</a:t>
            </a:r>
          </a:p>
        </p:txBody>
      </p:sp>
      <p:sp>
        <p:nvSpPr>
          <p:cNvPr id="57" name="Text Placeholder 56">
            <a:extLst>
              <a:ext uri="{FF2B5EF4-FFF2-40B4-BE49-F238E27FC236}">
                <a16:creationId xmlns:a16="http://schemas.microsoft.com/office/drawing/2014/main" id="{9B38F2DB-922A-CACD-A188-094E3CD9196F}"/>
              </a:ext>
            </a:extLst>
          </p:cNvPr>
          <p:cNvSpPr>
            <a:spLocks noGrp="1"/>
          </p:cNvSpPr>
          <p:nvPr>
            <p:ph type="body" sz="quarter" idx="43"/>
          </p:nvPr>
        </p:nvSpPr>
        <p:spPr>
          <a:xfrm>
            <a:off x="6067424" y="1438275"/>
            <a:ext cx="2670175" cy="627063"/>
          </a:xfrm>
        </p:spPr>
        <p:txBody>
          <a:bodyPr/>
          <a:lstStyle/>
          <a:p>
            <a:r>
              <a:rPr lang="en-US" sz="850" noProof="0"/>
              <a:t>Meet the research team with your objective in hand. Determine the best research approach over a Teams meeting. Rely on Copilot in Teams for action items. Use Teams Rooms for the meeting to enable a transcript with proper attributions from a conference room.</a:t>
            </a:r>
          </a:p>
          <a:p>
            <a:endParaRPr lang="en-US" sz="850" noProof="0"/>
          </a:p>
        </p:txBody>
      </p:sp>
      <p:sp>
        <p:nvSpPr>
          <p:cNvPr id="61" name="Text Placeholder 60">
            <a:extLst>
              <a:ext uri="{FF2B5EF4-FFF2-40B4-BE49-F238E27FC236}">
                <a16:creationId xmlns:a16="http://schemas.microsoft.com/office/drawing/2014/main" id="{FE726584-C53C-17E2-413B-A45AAE1FCF33}"/>
              </a:ext>
            </a:extLst>
          </p:cNvPr>
          <p:cNvSpPr>
            <a:spLocks noGrp="1"/>
          </p:cNvSpPr>
          <p:nvPr>
            <p:ph type="body" sz="quarter" idx="68"/>
          </p:nvPr>
        </p:nvSpPr>
        <p:spPr>
          <a:xfrm>
            <a:off x="8950475" y="2725494"/>
            <a:ext cx="2572262" cy="712876"/>
          </a:xfrm>
        </p:spPr>
        <p:txBody>
          <a:bodyPr/>
          <a:lstStyle/>
          <a:p>
            <a:r>
              <a:rPr lang="en-US" noProof="0" dirty="0"/>
              <a:t>Benefit: Use Copilot to help you explore and </a:t>
            </a:r>
            <a:r>
              <a:rPr lang="en-US" dirty="0">
                <a:latin typeface="+mj-lt"/>
              </a:rPr>
              <a:t>understand your data better</a:t>
            </a:r>
            <a:r>
              <a:rPr lang="en-US" noProof="0" dirty="0"/>
              <a:t>. </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2"/>
              </a:rPr>
              <a:t>Try in Prompt Gallery: Find insights</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noProof="0" dirty="0"/>
          </a:p>
        </p:txBody>
      </p:sp>
      <p:sp>
        <p:nvSpPr>
          <p:cNvPr id="59" name="Text Placeholder 58">
            <a:extLst>
              <a:ext uri="{FF2B5EF4-FFF2-40B4-BE49-F238E27FC236}">
                <a16:creationId xmlns:a16="http://schemas.microsoft.com/office/drawing/2014/main" id="{8D15A6D0-F453-2D1E-E71C-CB645C8E9CA3}"/>
              </a:ext>
            </a:extLst>
          </p:cNvPr>
          <p:cNvSpPr>
            <a:spLocks noGrp="1"/>
          </p:cNvSpPr>
          <p:nvPr>
            <p:ph type="body" sz="quarter" idx="45"/>
          </p:nvPr>
        </p:nvSpPr>
        <p:spPr>
          <a:xfrm>
            <a:off x="8950475" y="1112478"/>
            <a:ext cx="2572262" cy="153888"/>
          </a:xfrm>
        </p:spPr>
        <p:txBody>
          <a:bodyPr/>
          <a:lstStyle/>
          <a:p>
            <a:r>
              <a:rPr lang="en-US" noProof="0"/>
              <a:t>Discover market trends</a:t>
            </a:r>
          </a:p>
        </p:txBody>
      </p:sp>
      <p:sp>
        <p:nvSpPr>
          <p:cNvPr id="60" name="Text Placeholder 59">
            <a:extLst>
              <a:ext uri="{FF2B5EF4-FFF2-40B4-BE49-F238E27FC236}">
                <a16:creationId xmlns:a16="http://schemas.microsoft.com/office/drawing/2014/main" id="{DF9B1109-805F-5B15-1363-38F4FE349EED}"/>
              </a:ext>
            </a:extLst>
          </p:cNvPr>
          <p:cNvSpPr>
            <a:spLocks noGrp="1"/>
          </p:cNvSpPr>
          <p:nvPr>
            <p:ph type="body" sz="quarter" idx="46"/>
          </p:nvPr>
        </p:nvSpPr>
        <p:spPr>
          <a:xfrm>
            <a:off x="8950325" y="1438275"/>
            <a:ext cx="2571750" cy="627063"/>
          </a:xfrm>
        </p:spPr>
        <p:txBody>
          <a:bodyPr/>
          <a:lstStyle/>
          <a:p>
            <a:r>
              <a:rPr lang="en-US" sz="850" noProof="0"/>
              <a:t>Select the Show data insights prompt in Copilot </a:t>
            </a:r>
            <a:br>
              <a:rPr lang="en-US" sz="850" noProof="0"/>
            </a:br>
            <a:r>
              <a:rPr lang="en-US" sz="850" noProof="0"/>
              <a:t>in Excel to discover market trends from the research data and analyze competitive insights.</a:t>
            </a:r>
          </a:p>
          <a:p>
            <a:endParaRPr lang="en-US" sz="850" noProof="0"/>
          </a:p>
        </p:txBody>
      </p:sp>
      <p:sp>
        <p:nvSpPr>
          <p:cNvPr id="134" name="Text Placeholder 133">
            <a:extLst>
              <a:ext uri="{FF2B5EF4-FFF2-40B4-BE49-F238E27FC236}">
                <a16:creationId xmlns:a16="http://schemas.microsoft.com/office/drawing/2014/main" id="{1D0FA483-E95C-0D0F-0AD4-6CAA9E95233C}"/>
              </a:ext>
            </a:extLst>
          </p:cNvPr>
          <p:cNvSpPr>
            <a:spLocks noGrp="1"/>
          </p:cNvSpPr>
          <p:nvPr>
            <p:ph type="body" sz="quarter" idx="70"/>
          </p:nvPr>
        </p:nvSpPr>
        <p:spPr>
          <a:xfrm>
            <a:off x="6066682" y="2725494"/>
            <a:ext cx="2572262" cy="712876"/>
          </a:xfrm>
        </p:spPr>
        <p:txBody>
          <a:bodyPr/>
          <a:lstStyle/>
          <a:p>
            <a:r>
              <a:rPr lang="en-US" noProof="0" dirty="0"/>
              <a:t>Benefit: </a:t>
            </a:r>
            <a:r>
              <a:rPr lang="en-US" dirty="0">
                <a:latin typeface="+mj-lt"/>
              </a:rPr>
              <a:t>Keep the conversation flowing </a:t>
            </a:r>
            <a:r>
              <a:rPr lang="en-US" noProof="0" dirty="0"/>
              <a:t>onto meaningful topics to help cover the agenda quicker and reduce meeting times.</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3"/>
              </a:rPr>
              <a:t>Try in Prompt Gallery: Keep things moving</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noProof="0" dirty="0"/>
          </a:p>
        </p:txBody>
      </p:sp>
      <p:sp>
        <p:nvSpPr>
          <p:cNvPr id="62" name="Text Placeholder 61">
            <a:extLst>
              <a:ext uri="{FF2B5EF4-FFF2-40B4-BE49-F238E27FC236}">
                <a16:creationId xmlns:a16="http://schemas.microsoft.com/office/drawing/2014/main" id="{13CC93C5-AF33-1D72-10EF-121379232011}"/>
              </a:ext>
            </a:extLst>
          </p:cNvPr>
          <p:cNvSpPr>
            <a:spLocks noGrp="1"/>
          </p:cNvSpPr>
          <p:nvPr>
            <p:ph type="body" sz="quarter" idx="48"/>
          </p:nvPr>
        </p:nvSpPr>
        <p:spPr>
          <a:xfrm>
            <a:off x="3182890" y="5334522"/>
            <a:ext cx="2572262" cy="712876"/>
          </a:xfrm>
        </p:spPr>
        <p:txBody>
          <a:bodyPr/>
          <a:lstStyle/>
          <a:p>
            <a:r>
              <a:rPr lang="en-US" noProof="0" dirty="0"/>
              <a:t>Benefit: </a:t>
            </a:r>
            <a:r>
              <a:rPr lang="en-US" dirty="0">
                <a:latin typeface="+mj-lt"/>
              </a:rPr>
              <a:t>Document and socialize </a:t>
            </a:r>
            <a:r>
              <a:rPr lang="en-US" noProof="0" dirty="0"/>
              <a:t>the research findings to help better inform product strategy.</a:t>
            </a:r>
          </a:p>
          <a:p>
            <a:r>
              <a:rPr kumimoji="0" lang="en-US" sz="900" b="0" i="0" u="none" strike="noStrike" kern="1200" cap="none" spc="0" normalizeH="0" baseline="0" noProof="0" dirty="0">
                <a:ln>
                  <a:noFill/>
                </a:ln>
                <a:solidFill>
                  <a:srgbClr val="1A1A1A"/>
                </a:solidFill>
                <a:effectLst/>
                <a:uLnTx/>
                <a:uFillTx/>
                <a:latin typeface="Segoe UI"/>
                <a:ea typeface="+mn-ea"/>
                <a:cs typeface="Segoe UI" pitchFamily="34" charset="0"/>
                <a:hlinkClick r:id="rId4"/>
              </a:rPr>
              <a:t>Try in Prompt Gallery: Announce a product launch</a:t>
            </a:r>
            <a:endParaRPr kumimoji="0" lang="en-US" sz="900" b="0" i="0" u="none" strike="noStrike" kern="1200" cap="none" spc="0" normalizeH="0" baseline="0" noProof="0" dirty="0">
              <a:ln>
                <a:noFill/>
              </a:ln>
              <a:solidFill>
                <a:srgbClr val="1A1A1A"/>
              </a:solidFill>
              <a:effectLst/>
              <a:uLnTx/>
              <a:uFillTx/>
              <a:latin typeface="Segoe UI"/>
              <a:ea typeface="+mn-ea"/>
              <a:cs typeface="Segoe UI" pitchFamily="34" charset="0"/>
            </a:endParaRPr>
          </a:p>
          <a:p>
            <a:endParaRPr lang="en-US" noProof="0" dirty="0"/>
          </a:p>
        </p:txBody>
      </p:sp>
      <p:sp>
        <p:nvSpPr>
          <p:cNvPr id="63" name="Text Placeholder 62">
            <a:extLst>
              <a:ext uri="{FF2B5EF4-FFF2-40B4-BE49-F238E27FC236}">
                <a16:creationId xmlns:a16="http://schemas.microsoft.com/office/drawing/2014/main" id="{7C43510F-0FD3-8CA0-C57D-C75E91B2FFA0}"/>
              </a:ext>
            </a:extLst>
          </p:cNvPr>
          <p:cNvSpPr>
            <a:spLocks noGrp="1"/>
          </p:cNvSpPr>
          <p:nvPr>
            <p:ph type="body" sz="quarter" idx="49"/>
          </p:nvPr>
        </p:nvSpPr>
        <p:spPr>
          <a:xfrm>
            <a:off x="3182890" y="3725103"/>
            <a:ext cx="2572262" cy="153888"/>
          </a:xfrm>
        </p:spPr>
        <p:txBody>
          <a:bodyPr/>
          <a:lstStyle/>
          <a:p>
            <a:r>
              <a:rPr lang="en-US" noProof="0"/>
              <a:t>Communicate results</a:t>
            </a:r>
          </a:p>
        </p:txBody>
      </p:sp>
      <p:sp>
        <p:nvSpPr>
          <p:cNvPr id="128" name="Text Placeholder 127">
            <a:extLst>
              <a:ext uri="{FF2B5EF4-FFF2-40B4-BE49-F238E27FC236}">
                <a16:creationId xmlns:a16="http://schemas.microsoft.com/office/drawing/2014/main" id="{64880777-9BBF-79DB-E071-0E5254335379}"/>
              </a:ext>
            </a:extLst>
          </p:cNvPr>
          <p:cNvSpPr>
            <a:spLocks noGrp="1"/>
          </p:cNvSpPr>
          <p:nvPr>
            <p:ph type="body" sz="quarter" idx="50"/>
          </p:nvPr>
        </p:nvSpPr>
        <p:spPr>
          <a:xfrm>
            <a:off x="3182890" y="4050957"/>
            <a:ext cx="2572262" cy="626701"/>
          </a:xfrm>
        </p:spPr>
        <p:txBody>
          <a:bodyPr/>
          <a:lstStyle/>
          <a:p>
            <a:r>
              <a:rPr lang="en-US" sz="850" noProof="0" dirty="0"/>
              <a:t>Starting in a new email, prompt Copilot in Outlook to create a dynamic message that includes key links.</a:t>
            </a:r>
          </a:p>
          <a:p>
            <a:endParaRPr lang="en-US" sz="850" noProof="0" dirty="0"/>
          </a:p>
        </p:txBody>
      </p:sp>
      <p:sp>
        <p:nvSpPr>
          <p:cNvPr id="129" name="Text Placeholder 128">
            <a:extLst>
              <a:ext uri="{FF2B5EF4-FFF2-40B4-BE49-F238E27FC236}">
                <a16:creationId xmlns:a16="http://schemas.microsoft.com/office/drawing/2014/main" id="{B9DEB148-803C-A072-65A5-DC961C507989}"/>
              </a:ext>
            </a:extLst>
          </p:cNvPr>
          <p:cNvSpPr>
            <a:spLocks noGrp="1"/>
          </p:cNvSpPr>
          <p:nvPr>
            <p:ph type="body" sz="quarter" idx="51"/>
          </p:nvPr>
        </p:nvSpPr>
        <p:spPr>
          <a:xfrm>
            <a:off x="6066682" y="3725103"/>
            <a:ext cx="2572262" cy="153888"/>
          </a:xfrm>
        </p:spPr>
        <p:txBody>
          <a:bodyPr/>
          <a:lstStyle/>
          <a:p>
            <a:r>
              <a:rPr lang="en-US" noProof="0"/>
              <a:t>Present the findings</a:t>
            </a:r>
          </a:p>
        </p:txBody>
      </p:sp>
      <p:sp>
        <p:nvSpPr>
          <p:cNvPr id="130" name="Text Placeholder 129">
            <a:extLst>
              <a:ext uri="{FF2B5EF4-FFF2-40B4-BE49-F238E27FC236}">
                <a16:creationId xmlns:a16="http://schemas.microsoft.com/office/drawing/2014/main" id="{0AFB67F9-3EA4-A964-B76B-E5632F6E0272}"/>
              </a:ext>
            </a:extLst>
          </p:cNvPr>
          <p:cNvSpPr>
            <a:spLocks noGrp="1"/>
          </p:cNvSpPr>
          <p:nvPr>
            <p:ph type="body" sz="quarter" idx="52"/>
          </p:nvPr>
        </p:nvSpPr>
        <p:spPr>
          <a:xfrm>
            <a:off x="6067425" y="4051300"/>
            <a:ext cx="2571750" cy="627063"/>
          </a:xfrm>
        </p:spPr>
        <p:txBody>
          <a:bodyPr/>
          <a:lstStyle/>
          <a:p>
            <a:r>
              <a:rPr lang="en-US" sz="850" noProof="0"/>
              <a:t>Present the findings using Copilot in PowerPoint to build a presentation by generating slides and images with your branding.</a:t>
            </a:r>
          </a:p>
          <a:p>
            <a:endParaRPr lang="en-US" sz="850" noProof="0"/>
          </a:p>
        </p:txBody>
      </p:sp>
      <p:sp>
        <p:nvSpPr>
          <p:cNvPr id="55" name="Text Placeholder 54">
            <a:extLst>
              <a:ext uri="{FF2B5EF4-FFF2-40B4-BE49-F238E27FC236}">
                <a16:creationId xmlns:a16="http://schemas.microsoft.com/office/drawing/2014/main" id="{2C8088E1-8DA9-40EA-C4FD-A39A0AFBEDA7}"/>
              </a:ext>
            </a:extLst>
          </p:cNvPr>
          <p:cNvSpPr>
            <a:spLocks noGrp="1"/>
          </p:cNvSpPr>
          <p:nvPr>
            <p:ph type="body" sz="quarter" idx="66"/>
          </p:nvPr>
        </p:nvSpPr>
        <p:spPr>
          <a:xfrm>
            <a:off x="8950475" y="5334522"/>
            <a:ext cx="2572262" cy="712876"/>
          </a:xfrm>
        </p:spPr>
        <p:txBody>
          <a:bodyPr/>
          <a:lstStyle/>
          <a:p>
            <a:r>
              <a:rPr lang="en-US" noProof="0" dirty="0"/>
              <a:t>Benefit: </a:t>
            </a:r>
            <a:r>
              <a:rPr lang="en-US" dirty="0">
                <a:latin typeface="+mj-lt"/>
              </a:rPr>
              <a:t>Don't start with a blank page again</a:t>
            </a:r>
            <a:r>
              <a:rPr lang="en-US" noProof="0" dirty="0"/>
              <a:t>. Draft with Copilot and get to a finished document in a fraction of the time.</a:t>
            </a:r>
          </a:p>
          <a:p>
            <a:r>
              <a:rPr kumimoji="0" lang="en-US" sz="900" b="0" i="0" u="none" strike="noStrike" kern="1200" cap="none" spc="0" normalizeH="0" baseline="0" noProof="0" dirty="0">
                <a:ln>
                  <a:noFill/>
                </a:ln>
                <a:solidFill>
                  <a:srgbClr val="1A1A1A"/>
                </a:solidFill>
                <a:effectLst/>
                <a:uLnTx/>
                <a:uFillTx/>
                <a:latin typeface="Segoe UI"/>
                <a:ea typeface="+mn-ea"/>
                <a:cs typeface="Segoe UI" pitchFamily="34" charset="0"/>
                <a:hlinkClick r:id="rId5"/>
              </a:rPr>
              <a:t>Try in Prompt Gallery: Write a go-to-market strategy</a:t>
            </a:r>
            <a:endParaRPr kumimoji="0" lang="en-US" sz="900" b="0" i="0" u="none" strike="noStrike" kern="1200" cap="none" spc="0" normalizeH="0" baseline="0" noProof="0" dirty="0">
              <a:ln>
                <a:noFill/>
              </a:ln>
              <a:solidFill>
                <a:srgbClr val="1A1A1A"/>
              </a:solidFill>
              <a:effectLst/>
              <a:uLnTx/>
              <a:uFillTx/>
              <a:latin typeface="Segoe UI"/>
              <a:ea typeface="+mn-ea"/>
              <a:cs typeface="Segoe UI" pitchFamily="34" charset="0"/>
            </a:endParaRPr>
          </a:p>
          <a:p>
            <a:endParaRPr lang="en-US" noProof="0" dirty="0"/>
          </a:p>
        </p:txBody>
      </p:sp>
      <p:sp>
        <p:nvSpPr>
          <p:cNvPr id="132" name="Text Placeholder 131">
            <a:extLst>
              <a:ext uri="{FF2B5EF4-FFF2-40B4-BE49-F238E27FC236}">
                <a16:creationId xmlns:a16="http://schemas.microsoft.com/office/drawing/2014/main" id="{20AD8023-C995-997C-AAB3-607AE2F2B3C8}"/>
              </a:ext>
            </a:extLst>
          </p:cNvPr>
          <p:cNvSpPr>
            <a:spLocks noGrp="1"/>
          </p:cNvSpPr>
          <p:nvPr>
            <p:ph type="body" sz="quarter" idx="54"/>
          </p:nvPr>
        </p:nvSpPr>
        <p:spPr>
          <a:xfrm>
            <a:off x="8950475" y="3725103"/>
            <a:ext cx="2572262" cy="153888"/>
          </a:xfrm>
        </p:spPr>
        <p:txBody>
          <a:bodyPr/>
          <a:lstStyle/>
          <a:p>
            <a:r>
              <a:rPr lang="en-US" noProof="0"/>
              <a:t>Strategy formulation</a:t>
            </a:r>
          </a:p>
        </p:txBody>
      </p:sp>
      <p:sp>
        <p:nvSpPr>
          <p:cNvPr id="133" name="Text Placeholder 132">
            <a:extLst>
              <a:ext uri="{FF2B5EF4-FFF2-40B4-BE49-F238E27FC236}">
                <a16:creationId xmlns:a16="http://schemas.microsoft.com/office/drawing/2014/main" id="{A9C7CDC7-65E6-97A6-4C3D-FD5A9F646D20}"/>
              </a:ext>
            </a:extLst>
          </p:cNvPr>
          <p:cNvSpPr>
            <a:spLocks noGrp="1"/>
          </p:cNvSpPr>
          <p:nvPr>
            <p:ph type="body" sz="quarter" idx="55"/>
          </p:nvPr>
        </p:nvSpPr>
        <p:spPr>
          <a:xfrm>
            <a:off x="8950325" y="4051300"/>
            <a:ext cx="2571750" cy="627063"/>
          </a:xfrm>
        </p:spPr>
        <p:txBody>
          <a:bodyPr/>
          <a:lstStyle/>
          <a:p>
            <a:r>
              <a:rPr lang="en-US" sz="850" noProof="0"/>
              <a:t>Prompt Copilot in Word to draft an internal snapshot of the findings, citing the results. </a:t>
            </a:r>
          </a:p>
          <a:p>
            <a:endParaRPr lang="en-US" sz="850" noProof="0"/>
          </a:p>
        </p:txBody>
      </p:sp>
      <p:sp>
        <p:nvSpPr>
          <p:cNvPr id="58" name="Text Placeholder 57">
            <a:extLst>
              <a:ext uri="{FF2B5EF4-FFF2-40B4-BE49-F238E27FC236}">
                <a16:creationId xmlns:a16="http://schemas.microsoft.com/office/drawing/2014/main" id="{473D9EC4-83CC-1969-4FC6-ABBBF2284220}"/>
              </a:ext>
            </a:extLst>
          </p:cNvPr>
          <p:cNvSpPr>
            <a:spLocks noGrp="1"/>
          </p:cNvSpPr>
          <p:nvPr>
            <p:ph type="body" sz="quarter" idx="67"/>
          </p:nvPr>
        </p:nvSpPr>
        <p:spPr>
          <a:xfrm>
            <a:off x="6066682" y="5334522"/>
            <a:ext cx="2572262" cy="712876"/>
          </a:xfrm>
        </p:spPr>
        <p:txBody>
          <a:bodyPr/>
          <a:lstStyle/>
          <a:p>
            <a:r>
              <a:rPr lang="en-US" noProof="0" dirty="0"/>
              <a:t>Benefit: Let Copilot help you build a presentation by </a:t>
            </a:r>
            <a:r>
              <a:rPr lang="en-US" dirty="0">
                <a:latin typeface="+mj-lt"/>
              </a:rPr>
              <a:t>generating slides </a:t>
            </a:r>
            <a:r>
              <a:rPr lang="en-US" noProof="0" dirty="0"/>
              <a:t>or images with your organization’s branding.</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6"/>
              </a:rPr>
              <a:t>Try in Prompt Gallery: Create presentations</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noProof="0" dirty="0"/>
          </a:p>
        </p:txBody>
      </p:sp>
      <p:sp>
        <p:nvSpPr>
          <p:cNvPr id="161" name="Text Placeholder 160">
            <a:extLst>
              <a:ext uri="{FF2B5EF4-FFF2-40B4-BE49-F238E27FC236}">
                <a16:creationId xmlns:a16="http://schemas.microsoft.com/office/drawing/2014/main" id="{0442138B-CA35-562D-63F2-13388754C0E9}"/>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62" name="Text Placeholder 161">
            <a:extLst>
              <a:ext uri="{FF2B5EF4-FFF2-40B4-BE49-F238E27FC236}">
                <a16:creationId xmlns:a16="http://schemas.microsoft.com/office/drawing/2014/main" id="{203130C3-225F-27C6-9CE6-9DE097F3B93C}"/>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163" name="Group 162">
            <a:extLst>
              <a:ext uri="{FF2B5EF4-FFF2-40B4-BE49-F238E27FC236}">
                <a16:creationId xmlns:a16="http://schemas.microsoft.com/office/drawing/2014/main" id="{1A9FC0CC-E27E-FCB3-ECF3-0C98594923D3}"/>
              </a:ext>
            </a:extLst>
          </p:cNvPr>
          <p:cNvGrpSpPr/>
          <p:nvPr/>
        </p:nvGrpSpPr>
        <p:grpSpPr>
          <a:xfrm>
            <a:off x="320719" y="5020658"/>
            <a:ext cx="1771605" cy="216000"/>
            <a:chOff x="320719" y="4224856"/>
            <a:chExt cx="1771605" cy="219456"/>
          </a:xfrm>
        </p:grpSpPr>
        <p:sp>
          <p:nvSpPr>
            <p:cNvPr id="164" name="Rectangle: Rounded Corners 6">
              <a:extLst>
                <a:ext uri="{FF2B5EF4-FFF2-40B4-BE49-F238E27FC236}">
                  <a16:creationId xmlns:a16="http://schemas.microsoft.com/office/drawing/2014/main" id="{7D9B5083-7C26-86B1-41BA-11B67F326CE6}"/>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65" name="Graphic 164">
              <a:extLst>
                <a:ext uri="{FF2B5EF4-FFF2-40B4-BE49-F238E27FC236}">
                  <a16:creationId xmlns:a16="http://schemas.microsoft.com/office/drawing/2014/main" id="{32BED9BE-E81B-8CEA-5F3F-32AD940C4AB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67506" y="4260849"/>
              <a:ext cx="144000" cy="144000"/>
            </a:xfrm>
            <a:prstGeom prst="rect">
              <a:avLst/>
            </a:prstGeom>
          </p:spPr>
        </p:pic>
      </p:grpSp>
      <p:grpSp>
        <p:nvGrpSpPr>
          <p:cNvPr id="166" name="Group 165">
            <a:extLst>
              <a:ext uri="{FF2B5EF4-FFF2-40B4-BE49-F238E27FC236}">
                <a16:creationId xmlns:a16="http://schemas.microsoft.com/office/drawing/2014/main" id="{3F975537-AC43-E242-B50A-0E249D5EB02B}"/>
              </a:ext>
            </a:extLst>
          </p:cNvPr>
          <p:cNvGrpSpPr/>
          <p:nvPr/>
        </p:nvGrpSpPr>
        <p:grpSpPr>
          <a:xfrm>
            <a:off x="320721" y="5309272"/>
            <a:ext cx="1771605" cy="216000"/>
            <a:chOff x="320721" y="4517211"/>
            <a:chExt cx="1771605" cy="216000"/>
          </a:xfrm>
        </p:grpSpPr>
        <p:sp>
          <p:nvSpPr>
            <p:cNvPr id="167" name="Rectangle: Rounded Corners 6">
              <a:extLst>
                <a:ext uri="{FF2B5EF4-FFF2-40B4-BE49-F238E27FC236}">
                  <a16:creationId xmlns:a16="http://schemas.microsoft.com/office/drawing/2014/main" id="{6734C5A1-7F8A-C816-A8C0-1B38BACA53CD}"/>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Employee experience</a:t>
              </a:r>
            </a:p>
          </p:txBody>
        </p:sp>
        <p:pic>
          <p:nvPicPr>
            <p:cNvPr id="168" name="Graphic 167">
              <a:extLst>
                <a:ext uri="{FF2B5EF4-FFF2-40B4-BE49-F238E27FC236}">
                  <a16:creationId xmlns:a16="http://schemas.microsoft.com/office/drawing/2014/main" id="{5DD6C80F-87FA-B01D-2299-E44E50C4B2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7507" y="4552645"/>
              <a:ext cx="144000" cy="141732"/>
            </a:xfrm>
            <a:prstGeom prst="rect">
              <a:avLst/>
            </a:prstGeom>
          </p:spPr>
        </p:pic>
      </p:grpSp>
      <p:grpSp>
        <p:nvGrpSpPr>
          <p:cNvPr id="188" name="Group 187">
            <a:extLst>
              <a:ext uri="{FF2B5EF4-FFF2-40B4-BE49-F238E27FC236}">
                <a16:creationId xmlns:a16="http://schemas.microsoft.com/office/drawing/2014/main" id="{3A46A12A-505C-9120-81BA-9DC1B910C6EB}"/>
              </a:ext>
            </a:extLst>
          </p:cNvPr>
          <p:cNvGrpSpPr/>
          <p:nvPr/>
        </p:nvGrpSpPr>
        <p:grpSpPr>
          <a:xfrm>
            <a:off x="320719" y="3778836"/>
            <a:ext cx="1771605" cy="216000"/>
            <a:chOff x="320719" y="4224856"/>
            <a:chExt cx="1771605" cy="219456"/>
          </a:xfrm>
        </p:grpSpPr>
        <p:sp>
          <p:nvSpPr>
            <p:cNvPr id="189" name="Rectangle: Rounded Corners 6">
              <a:extLst>
                <a:ext uri="{FF2B5EF4-FFF2-40B4-BE49-F238E27FC236}">
                  <a16:creationId xmlns:a16="http://schemas.microsoft.com/office/drawing/2014/main" id="{179395C7-C546-4591-B3AE-BA19379AC5ED}"/>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190" name="Graphic 189">
              <a:extLst>
                <a:ext uri="{FF2B5EF4-FFF2-40B4-BE49-F238E27FC236}">
                  <a16:creationId xmlns:a16="http://schemas.microsoft.com/office/drawing/2014/main" id="{FCEE2F07-E560-00B7-DFB2-ADB84D2DDC92}"/>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67506" y="4260849"/>
              <a:ext cx="144000" cy="144000"/>
            </a:xfrm>
            <a:prstGeom prst="rect">
              <a:avLst/>
            </a:prstGeom>
          </p:spPr>
        </p:pic>
      </p:grpSp>
      <p:grpSp>
        <p:nvGrpSpPr>
          <p:cNvPr id="191" name="Group 190">
            <a:extLst>
              <a:ext uri="{FF2B5EF4-FFF2-40B4-BE49-F238E27FC236}">
                <a16:creationId xmlns:a16="http://schemas.microsoft.com/office/drawing/2014/main" id="{8C7388E6-D896-5CAE-0104-7197E9C2DA7D}"/>
              </a:ext>
            </a:extLst>
          </p:cNvPr>
          <p:cNvGrpSpPr/>
          <p:nvPr/>
        </p:nvGrpSpPr>
        <p:grpSpPr>
          <a:xfrm>
            <a:off x="320721" y="4067450"/>
            <a:ext cx="1771605" cy="216000"/>
            <a:chOff x="320721" y="4517211"/>
            <a:chExt cx="1771605" cy="216000"/>
          </a:xfrm>
        </p:grpSpPr>
        <p:sp>
          <p:nvSpPr>
            <p:cNvPr id="192" name="Rectangle: Rounded Corners 6">
              <a:extLst>
                <a:ext uri="{FF2B5EF4-FFF2-40B4-BE49-F238E27FC236}">
                  <a16:creationId xmlns:a16="http://schemas.microsoft.com/office/drawing/2014/main" id="{D0E59BEA-5A3F-4435-8CF4-63189B3C11DB}"/>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Marketing spend</a:t>
              </a:r>
            </a:p>
          </p:txBody>
        </p:sp>
        <p:pic>
          <p:nvPicPr>
            <p:cNvPr id="193" name="Graphic 192">
              <a:extLst>
                <a:ext uri="{FF2B5EF4-FFF2-40B4-BE49-F238E27FC236}">
                  <a16:creationId xmlns:a16="http://schemas.microsoft.com/office/drawing/2014/main" id="{C3BA835C-8E7E-EE7D-4513-C4564180576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7507" y="4552645"/>
              <a:ext cx="144000" cy="141732"/>
            </a:xfrm>
            <a:prstGeom prst="rect">
              <a:avLst/>
            </a:prstGeom>
          </p:spPr>
        </p:pic>
      </p:grpSp>
      <p:pic>
        <p:nvPicPr>
          <p:cNvPr id="249" name="Picture 6" descr="Microsoft Teams Logo, symbol, meaning, history, PNG, brand">
            <a:extLst>
              <a:ext uri="{FF2B5EF4-FFF2-40B4-BE49-F238E27FC236}">
                <a16:creationId xmlns:a16="http://schemas.microsoft.com/office/drawing/2014/main" id="{A0FFEEF6-949B-33B6-7768-904699D4B680}"/>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9049" r="19049"/>
          <a:stretch/>
        </p:blipFill>
        <p:spPr bwMode="auto">
          <a:xfrm>
            <a:off x="6067424" y="2216566"/>
            <a:ext cx="245612" cy="223322"/>
          </a:xfrm>
          <a:prstGeom prst="rect">
            <a:avLst/>
          </a:prstGeom>
          <a:noFill/>
          <a:extLst>
            <a:ext uri="{909E8E84-426E-40DD-AFC4-6F175D3DCCD1}">
              <a14:hiddenFill xmlns:a14="http://schemas.microsoft.com/office/drawing/2010/main">
                <a:solidFill>
                  <a:srgbClr val="FFFFFF"/>
                </a:solidFill>
              </a14:hiddenFill>
            </a:ext>
          </a:extLst>
        </p:spPr>
      </p:pic>
      <p:pic>
        <p:nvPicPr>
          <p:cNvPr id="255" name="Graphic 254">
            <a:extLst>
              <a:ext uri="{FF2B5EF4-FFF2-40B4-BE49-F238E27FC236}">
                <a16:creationId xmlns:a16="http://schemas.microsoft.com/office/drawing/2014/main" id="{1BCCD609-9075-8BFB-2D57-DCA0ED6539C8}"/>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t="-6818" b="-6818"/>
          <a:stretch/>
        </p:blipFill>
        <p:spPr>
          <a:xfrm>
            <a:off x="8950325" y="4829399"/>
            <a:ext cx="237610" cy="237610"/>
          </a:xfrm>
          <a:prstGeom prst="rect">
            <a:avLst/>
          </a:prstGeom>
        </p:spPr>
      </p:pic>
      <p:pic>
        <p:nvPicPr>
          <p:cNvPr id="257" name="Graphic 256">
            <a:extLst>
              <a:ext uri="{FF2B5EF4-FFF2-40B4-BE49-F238E27FC236}">
                <a16:creationId xmlns:a16="http://schemas.microsoft.com/office/drawing/2014/main" id="{975E25BC-8C1A-7B01-A477-04D4416285D3}"/>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t="-7386" b="-7386"/>
          <a:stretch/>
        </p:blipFill>
        <p:spPr>
          <a:xfrm>
            <a:off x="6067425" y="4819079"/>
            <a:ext cx="258250" cy="258250"/>
          </a:xfrm>
          <a:prstGeom prst="rect">
            <a:avLst/>
          </a:prstGeom>
        </p:spPr>
      </p:pic>
      <p:sp>
        <p:nvSpPr>
          <p:cNvPr id="28" name="Graphic 2">
            <a:hlinkClick r:id="rId16"/>
            <a:extLst>
              <a:ext uri="{FF2B5EF4-FFF2-40B4-BE49-F238E27FC236}">
                <a16:creationId xmlns:a16="http://schemas.microsoft.com/office/drawing/2014/main" id="{72DAE1FE-8161-CBB8-949B-9F58DC58C83E}"/>
              </a:ext>
            </a:extLst>
          </p:cNvPr>
          <p:cNvSpPr>
            <a:spLocks/>
          </p:cNvSpPr>
          <p:nvPr/>
        </p:nvSpPr>
        <p:spPr>
          <a:xfrm>
            <a:off x="6304100" y="424834"/>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0D780597-6EC1-3B98-A14B-8BAC979BAAAA}"/>
              </a:ext>
              <a:ext uri="{C183D7F6-B498-43B3-948B-1728B52AA6E4}">
                <adec:decorative xmlns:adec="http://schemas.microsoft.com/office/drawing/2017/decorative" val="0"/>
              </a:ext>
            </a:extLst>
          </p:cNvPr>
          <p:cNvSpPr txBox="1"/>
          <p:nvPr/>
        </p:nvSpPr>
        <p:spPr>
          <a:xfrm>
            <a:off x="3552452" y="4785360"/>
            <a:ext cx="1490793"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Outlook</a:t>
            </a:r>
          </a:p>
        </p:txBody>
      </p:sp>
      <p:pic>
        <p:nvPicPr>
          <p:cNvPr id="48" name="Picture 28" descr="Microsoft Outlook Logo PNG, Logo Outlook.com Transparent Images - Free ...">
            <a:extLst>
              <a:ext uri="{FF2B5EF4-FFF2-40B4-BE49-F238E27FC236}">
                <a16:creationId xmlns:a16="http://schemas.microsoft.com/office/drawing/2014/main" id="{77E35882-8E1E-79E9-33BC-55E24BEA8069}"/>
              </a:ext>
            </a:extLst>
          </p:cNvPr>
          <p:cNvPicPr>
            <a:picLocks noChangeArrowheads="1"/>
          </p:cNvPicPr>
          <p:nvPr/>
        </p:nvPicPr>
        <p:blipFill rotWithShape="1">
          <a:blip r:embed="rId17">
            <a:extLst>
              <a:ext uri="{28A0092B-C50C-407E-A947-70E740481C1C}">
                <a14:useLocalDpi xmlns:a14="http://schemas.microsoft.com/office/drawing/2010/main" val="0"/>
              </a:ext>
            </a:extLst>
          </a:blip>
          <a:srcRect t="-3781" b="-3781"/>
          <a:stretch/>
        </p:blipFill>
        <p:spPr bwMode="auto">
          <a:xfrm>
            <a:off x="3200672" y="4836629"/>
            <a:ext cx="223150" cy="223150"/>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52">
            <a:extLst>
              <a:ext uri="{FF2B5EF4-FFF2-40B4-BE49-F238E27FC236}">
                <a16:creationId xmlns:a16="http://schemas.microsoft.com/office/drawing/2014/main" id="{6FBFED97-8260-67D6-B86D-F0FC8AB30B2B}"/>
              </a:ext>
              <a:ext uri="{C183D7F6-B498-43B3-948B-1728B52AA6E4}">
                <adec:decorative xmlns:adec="http://schemas.microsoft.com/office/drawing/2017/decorative" val="0"/>
              </a:ext>
            </a:extLst>
          </p:cNvPr>
          <p:cNvSpPr txBox="1"/>
          <p:nvPr/>
        </p:nvSpPr>
        <p:spPr>
          <a:xfrm>
            <a:off x="6445284" y="2101850"/>
            <a:ext cx="1830524" cy="4527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sp>
        <p:nvSpPr>
          <p:cNvPr id="135" name="TextBox 134">
            <a:extLst>
              <a:ext uri="{FF2B5EF4-FFF2-40B4-BE49-F238E27FC236}">
                <a16:creationId xmlns:a16="http://schemas.microsoft.com/office/drawing/2014/main" id="{9C019BDB-7A79-E328-85E2-292C72DC528F}"/>
              </a:ext>
              <a:ext uri="{C183D7F6-B498-43B3-948B-1728B52AA6E4}">
                <adec:decorative xmlns:adec="http://schemas.microsoft.com/office/drawing/2017/decorative" val="0"/>
              </a:ext>
            </a:extLst>
          </p:cNvPr>
          <p:cNvSpPr txBox="1"/>
          <p:nvPr/>
        </p:nvSpPr>
        <p:spPr>
          <a:xfrm>
            <a:off x="9329077" y="2101850"/>
            <a:ext cx="1830524" cy="4527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Excel</a:t>
            </a:r>
          </a:p>
        </p:txBody>
      </p:sp>
      <p:sp>
        <p:nvSpPr>
          <p:cNvPr id="136" name="TextBox 135">
            <a:extLst>
              <a:ext uri="{FF2B5EF4-FFF2-40B4-BE49-F238E27FC236}">
                <a16:creationId xmlns:a16="http://schemas.microsoft.com/office/drawing/2014/main" id="{3E5E7FC5-5E38-330B-C65A-1DD132B897D7}"/>
              </a:ext>
              <a:ext uri="{C183D7F6-B498-43B3-948B-1728B52AA6E4}">
                <adec:decorative xmlns:adec="http://schemas.microsoft.com/office/drawing/2017/decorative" val="0"/>
              </a:ext>
            </a:extLst>
          </p:cNvPr>
          <p:cNvSpPr txBox="1">
            <a:spLocks/>
          </p:cNvSpPr>
          <p:nvPr/>
        </p:nvSpPr>
        <p:spPr>
          <a:xfrm>
            <a:off x="3552452" y="2101850"/>
            <a:ext cx="1490793" cy="4527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138" name="Picture 50">
            <a:hlinkClick r:id="rId18"/>
            <a:extLst>
              <a:ext uri="{FF2B5EF4-FFF2-40B4-BE49-F238E27FC236}">
                <a16:creationId xmlns:a16="http://schemas.microsoft.com/office/drawing/2014/main" id="{ED920CDF-A4C7-DF5A-E3F8-65AEC0E75A3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182890" y="2207040"/>
            <a:ext cx="242374" cy="242374"/>
          </a:xfrm>
          <a:prstGeom prst="rect">
            <a:avLst/>
          </a:prstGeom>
          <a:noFill/>
          <a:extLst>
            <a:ext uri="{909E8E84-426E-40DD-AFC4-6F175D3DCCD1}">
              <a14:hiddenFill xmlns:a14="http://schemas.microsoft.com/office/drawing/2010/main">
                <a:solidFill>
                  <a:srgbClr val="FFFFFF"/>
                </a:solidFill>
              </a14:hiddenFill>
            </a:ext>
          </a:extLst>
        </p:spPr>
      </p:pic>
      <p:pic>
        <p:nvPicPr>
          <p:cNvPr id="141" name="Graphic 140">
            <a:extLst>
              <a:ext uri="{FF2B5EF4-FFF2-40B4-BE49-F238E27FC236}">
                <a16:creationId xmlns:a16="http://schemas.microsoft.com/office/drawing/2014/main" id="{42AF51D3-A4BB-BD71-5C55-86CF9E2C470C}"/>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t="-5682" b="-5682"/>
          <a:stretch/>
        </p:blipFill>
        <p:spPr>
          <a:xfrm>
            <a:off x="8950325" y="2217886"/>
            <a:ext cx="220682" cy="220682"/>
          </a:xfrm>
          <a:prstGeom prst="rect">
            <a:avLst/>
          </a:prstGeom>
        </p:spPr>
      </p:pic>
      <p:sp>
        <p:nvSpPr>
          <p:cNvPr id="142" name="TextBox 141">
            <a:extLst>
              <a:ext uri="{FF2B5EF4-FFF2-40B4-BE49-F238E27FC236}">
                <a16:creationId xmlns:a16="http://schemas.microsoft.com/office/drawing/2014/main" id="{67155B26-E07E-6A6C-6FE6-BBB0E5AFDA4E}"/>
              </a:ext>
              <a:ext uri="{C183D7F6-B498-43B3-948B-1728B52AA6E4}">
                <adec:decorative xmlns:adec="http://schemas.microsoft.com/office/drawing/2017/decorative" val="0"/>
              </a:ext>
            </a:extLst>
          </p:cNvPr>
          <p:cNvSpPr txBox="1"/>
          <p:nvPr/>
        </p:nvSpPr>
        <p:spPr>
          <a:xfrm>
            <a:off x="6445284" y="4785360"/>
            <a:ext cx="1830524"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PowerPoint</a:t>
            </a:r>
          </a:p>
        </p:txBody>
      </p:sp>
      <p:sp>
        <p:nvSpPr>
          <p:cNvPr id="143" name="TextBox 142">
            <a:extLst>
              <a:ext uri="{FF2B5EF4-FFF2-40B4-BE49-F238E27FC236}">
                <a16:creationId xmlns:a16="http://schemas.microsoft.com/office/drawing/2014/main" id="{FC51B3CE-09BE-19CA-8F0C-4BACE7CDED9D}"/>
              </a:ext>
              <a:ext uri="{C183D7F6-B498-43B3-948B-1728B52AA6E4}">
                <adec:decorative xmlns:adec="http://schemas.microsoft.com/office/drawing/2017/decorative" val="0"/>
              </a:ext>
            </a:extLst>
          </p:cNvPr>
          <p:cNvSpPr txBox="1"/>
          <p:nvPr/>
        </p:nvSpPr>
        <p:spPr>
          <a:xfrm>
            <a:off x="9329077" y="4785360"/>
            <a:ext cx="1830524"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Word</a:t>
            </a:r>
          </a:p>
        </p:txBody>
      </p:sp>
    </p:spTree>
    <p:extLst>
      <p:ext uri="{BB962C8B-B14F-4D97-AF65-F5344CB8AC3E}">
        <p14:creationId xmlns:p14="http://schemas.microsoft.com/office/powerpoint/2010/main" val="214877804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9" name="TextBox 1038">
            <a:extLst>
              <a:ext uri="{FF2B5EF4-FFF2-40B4-BE49-F238E27FC236}">
                <a16:creationId xmlns:a16="http://schemas.microsoft.com/office/drawing/2014/main" id="{0C897CE8-ED1D-54E6-5133-E762AB0017A1}"/>
              </a:ext>
              <a:ext uri="{C183D7F6-B498-43B3-948B-1728B52AA6E4}">
                <adec:decorative xmlns:adec="http://schemas.microsoft.com/office/drawing/2017/decorative" val="0"/>
              </a:ext>
            </a:extLst>
          </p:cNvPr>
          <p:cNvSpPr txBox="1"/>
          <p:nvPr/>
        </p:nvSpPr>
        <p:spPr>
          <a:xfrm>
            <a:off x="6444407"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sp>
        <p:nvSpPr>
          <p:cNvPr id="1031" name="Text Placeholder 1030">
            <a:extLst>
              <a:ext uri="{FF2B5EF4-FFF2-40B4-BE49-F238E27FC236}">
                <a16:creationId xmlns:a16="http://schemas.microsoft.com/office/drawing/2014/main" id="{D42F0C69-5D48-8AFC-D722-62FF1FB4EA9F}"/>
              </a:ext>
            </a:extLst>
          </p:cNvPr>
          <p:cNvSpPr>
            <a:spLocks noGrp="1"/>
          </p:cNvSpPr>
          <p:nvPr>
            <p:ph type="body" sz="quarter" idx="32"/>
          </p:nvPr>
        </p:nvSpPr>
        <p:spPr>
          <a:xfrm>
            <a:off x="311388" y="1026303"/>
            <a:ext cx="2431246" cy="1131079"/>
          </a:xfrm>
        </p:spPr>
        <p:txBody>
          <a:bodyPr/>
          <a:lstStyle/>
          <a:p>
            <a:r>
              <a:rPr lang="en-US" noProof="0" dirty="0"/>
              <a:t>AI can help with the analysis and communication requires to track campaign performance and inform decision making on new strategies.</a:t>
            </a:r>
          </a:p>
        </p:txBody>
      </p:sp>
      <p:sp>
        <p:nvSpPr>
          <p:cNvPr id="69" name="Text Placeholder 68">
            <a:extLst>
              <a:ext uri="{FF2B5EF4-FFF2-40B4-BE49-F238E27FC236}">
                <a16:creationId xmlns:a16="http://schemas.microsoft.com/office/drawing/2014/main" id="{99B2241E-557A-FF36-F785-805C429C81BC}"/>
              </a:ext>
            </a:extLst>
          </p:cNvPr>
          <p:cNvSpPr>
            <a:spLocks noGrp="1"/>
          </p:cNvSpPr>
          <p:nvPr>
            <p:ph type="body" sz="quarter" idx="33"/>
          </p:nvPr>
        </p:nvSpPr>
        <p:spPr>
          <a:xfrm>
            <a:off x="304796" y="413987"/>
            <a:ext cx="2057403" cy="307777"/>
          </a:xfrm>
        </p:spPr>
        <p:txBody>
          <a:bodyPr/>
          <a:lstStyle/>
          <a:p>
            <a:r>
              <a:rPr lang="en-US"/>
              <a:t>Retail</a:t>
            </a:r>
          </a:p>
        </p:txBody>
      </p:sp>
      <p:sp>
        <p:nvSpPr>
          <p:cNvPr id="46" name="Text Placeholder 45">
            <a:extLst>
              <a:ext uri="{FF2B5EF4-FFF2-40B4-BE49-F238E27FC236}">
                <a16:creationId xmlns:a16="http://schemas.microsoft.com/office/drawing/2014/main" id="{CCFAF3E8-92E2-9C8D-6306-EC61436F5CCC}"/>
              </a:ext>
            </a:extLst>
          </p:cNvPr>
          <p:cNvSpPr>
            <a:spLocks noGrp="1"/>
          </p:cNvSpPr>
          <p:nvPr>
            <p:ph type="body" sz="quarter" idx="30"/>
          </p:nvPr>
        </p:nvSpPr>
        <p:spPr>
          <a:xfrm>
            <a:off x="10430351" y="521099"/>
            <a:ext cx="1456966" cy="175614"/>
          </a:xfrm>
        </p:spPr>
        <p:txBody>
          <a:bodyPr/>
          <a:lstStyle/>
          <a:p>
            <a:r>
              <a:rPr lang="en-US" noProof="0"/>
              <a:t>Buy</a:t>
            </a:r>
          </a:p>
        </p:txBody>
      </p:sp>
      <p:sp>
        <p:nvSpPr>
          <p:cNvPr id="43" name="Text Placeholder 42">
            <a:extLst>
              <a:ext uri="{FF2B5EF4-FFF2-40B4-BE49-F238E27FC236}">
                <a16:creationId xmlns:a16="http://schemas.microsoft.com/office/drawing/2014/main" id="{62FE5023-DD14-BBF5-C634-BA2B47E07C6B}"/>
              </a:ext>
            </a:extLst>
          </p:cNvPr>
          <p:cNvSpPr>
            <a:spLocks noGrp="1"/>
          </p:cNvSpPr>
          <p:nvPr>
            <p:ph type="body" sz="quarter" idx="17"/>
          </p:nvPr>
        </p:nvSpPr>
        <p:spPr>
          <a:xfrm>
            <a:off x="7149557" y="521100"/>
            <a:ext cx="2969488" cy="169277"/>
          </a:xfrm>
        </p:spPr>
        <p:txBody>
          <a:bodyPr/>
          <a:lstStyle/>
          <a:p>
            <a:r>
              <a:rPr lang="en-US" noProof="0"/>
              <a:t>Microsoft 365 Copilot</a:t>
            </a:r>
          </a:p>
        </p:txBody>
      </p:sp>
      <p:sp>
        <p:nvSpPr>
          <p:cNvPr id="41" name="Title 40">
            <a:extLst>
              <a:ext uri="{FF2B5EF4-FFF2-40B4-BE49-F238E27FC236}">
                <a16:creationId xmlns:a16="http://schemas.microsoft.com/office/drawing/2014/main" id="{13307994-36E3-FBB3-C69E-CE8D4E058F64}"/>
              </a:ext>
            </a:extLst>
          </p:cNvPr>
          <p:cNvSpPr>
            <a:spLocks noGrp="1"/>
          </p:cNvSpPr>
          <p:nvPr>
            <p:ph type="title"/>
          </p:nvPr>
        </p:nvSpPr>
        <p:spPr>
          <a:xfrm>
            <a:off x="2492556" y="429376"/>
            <a:ext cx="4144817" cy="276999"/>
          </a:xfrm>
        </p:spPr>
        <p:txBody>
          <a:bodyPr/>
          <a:lstStyle/>
          <a:p>
            <a:r>
              <a:rPr lang="en-US"/>
              <a:t>Track marketing campaign performance</a:t>
            </a:r>
          </a:p>
        </p:txBody>
      </p:sp>
      <p:sp>
        <p:nvSpPr>
          <p:cNvPr id="82" name="Text Placeholder 81">
            <a:extLst>
              <a:ext uri="{FF2B5EF4-FFF2-40B4-BE49-F238E27FC236}">
                <a16:creationId xmlns:a16="http://schemas.microsoft.com/office/drawing/2014/main" id="{47807DCB-7073-FB4E-A96C-FF2261C578EF}"/>
              </a:ext>
            </a:extLst>
          </p:cNvPr>
          <p:cNvSpPr>
            <a:spLocks noGrp="1"/>
          </p:cNvSpPr>
          <p:nvPr>
            <p:ph type="body" sz="quarter" idx="69"/>
          </p:nvPr>
        </p:nvSpPr>
        <p:spPr>
          <a:xfrm>
            <a:off x="3182890" y="2725494"/>
            <a:ext cx="2572262" cy="712876"/>
          </a:xfrm>
        </p:spPr>
        <p:txBody>
          <a:bodyPr/>
          <a:lstStyle/>
          <a:p>
            <a:r>
              <a:rPr lang="en-US" noProof="0" dirty="0"/>
              <a:t>Benefit: </a:t>
            </a:r>
            <a:r>
              <a:rPr lang="en-US" noProof="0" dirty="0">
                <a:latin typeface="+mj-lt"/>
              </a:rPr>
              <a:t>Accelerate campaign planning</a:t>
            </a:r>
            <a:r>
              <a:rPr lang="en-US" noProof="0" dirty="0"/>
              <a:t>, foster creativity, and ensure alignment across the team.</a:t>
            </a:r>
          </a:p>
          <a:p>
            <a:r>
              <a:rPr kumimoji="0" lang="en-US" sz="900" b="0" i="0" u="sng" strike="noStrike" kern="1200" cap="none" spc="0" normalizeH="0" baseline="0" noProof="0" dirty="0">
                <a:ln>
                  <a:noFill/>
                </a:ln>
                <a:solidFill>
                  <a:srgbClr val="0070C0"/>
                </a:solidFill>
                <a:effectLst/>
                <a:uLnTx/>
                <a:uFillTx/>
                <a:latin typeface="Segoe UI"/>
                <a:ea typeface="+mn-ea"/>
                <a:cs typeface="Segoe UI" panose="020B0502040204020203" pitchFamily="34" charset="0"/>
                <a:hlinkClick r:id="rId2"/>
              </a:rPr>
              <a:t>Try in Prompt Gallery: Summarize meetings and videos</a:t>
            </a:r>
            <a:endParaRPr kumimoji="0" lang="en-US" sz="1000" b="0" i="0" u="sng" strike="noStrike" kern="1200" cap="none" spc="0" normalizeH="0" baseline="0" noProof="0" dirty="0">
              <a:ln>
                <a:noFill/>
              </a:ln>
              <a:solidFill>
                <a:srgbClr val="0070C0"/>
              </a:solidFill>
              <a:effectLst/>
              <a:uLnTx/>
              <a:uFillTx/>
              <a:latin typeface="Segoe UI"/>
              <a:ea typeface="+mn-ea"/>
              <a:cs typeface="+mn-cs"/>
            </a:endParaRPr>
          </a:p>
          <a:p>
            <a:endParaRPr lang="en-US" noProof="0" dirty="0"/>
          </a:p>
        </p:txBody>
      </p:sp>
      <p:sp>
        <p:nvSpPr>
          <p:cNvPr id="42" name="Text Placeholder 41">
            <a:extLst>
              <a:ext uri="{FF2B5EF4-FFF2-40B4-BE49-F238E27FC236}">
                <a16:creationId xmlns:a16="http://schemas.microsoft.com/office/drawing/2014/main" id="{17694C70-C648-FAB7-2015-EA17F6F5456F}"/>
              </a:ext>
            </a:extLst>
          </p:cNvPr>
          <p:cNvSpPr>
            <a:spLocks noGrp="1"/>
          </p:cNvSpPr>
          <p:nvPr>
            <p:ph type="body" sz="quarter" idx="11"/>
          </p:nvPr>
        </p:nvSpPr>
        <p:spPr>
          <a:xfrm>
            <a:off x="3182890" y="1112478"/>
            <a:ext cx="2572262" cy="153888"/>
          </a:xfrm>
        </p:spPr>
        <p:txBody>
          <a:bodyPr/>
          <a:lstStyle/>
          <a:p>
            <a:r>
              <a:rPr lang="en-US" noProof="0"/>
              <a:t>Efficient campaign planning</a:t>
            </a:r>
          </a:p>
        </p:txBody>
      </p:sp>
      <p:sp>
        <p:nvSpPr>
          <p:cNvPr id="44" name="Text Placeholder 43">
            <a:extLst>
              <a:ext uri="{FF2B5EF4-FFF2-40B4-BE49-F238E27FC236}">
                <a16:creationId xmlns:a16="http://schemas.microsoft.com/office/drawing/2014/main" id="{B48B9AB2-1528-29EC-F734-A706A69F8F4E}"/>
              </a:ext>
            </a:extLst>
          </p:cNvPr>
          <p:cNvSpPr>
            <a:spLocks noGrp="1"/>
          </p:cNvSpPr>
          <p:nvPr>
            <p:ph type="body" sz="quarter" idx="18"/>
          </p:nvPr>
        </p:nvSpPr>
        <p:spPr>
          <a:xfrm>
            <a:off x="3182938" y="1438275"/>
            <a:ext cx="2571750" cy="627063"/>
          </a:xfrm>
        </p:spPr>
        <p:txBody>
          <a:bodyPr/>
          <a:lstStyle/>
          <a:p>
            <a:r>
              <a:rPr lang="en-US" noProof="0"/>
              <a:t>Collaborate with your team to plan a campaign using Copilot in Teams. It assists in suggesting talking points, setting goals, and assigning tasks.</a:t>
            </a:r>
          </a:p>
        </p:txBody>
      </p:sp>
      <p:sp>
        <p:nvSpPr>
          <p:cNvPr id="71" name="Text Placeholder 70">
            <a:extLst>
              <a:ext uri="{FF2B5EF4-FFF2-40B4-BE49-F238E27FC236}">
                <a16:creationId xmlns:a16="http://schemas.microsoft.com/office/drawing/2014/main" id="{C7EA14AB-C183-3908-6A00-68E725F6D518}"/>
              </a:ext>
            </a:extLst>
          </p:cNvPr>
          <p:cNvSpPr>
            <a:spLocks noGrp="1"/>
          </p:cNvSpPr>
          <p:nvPr>
            <p:ph type="body" sz="quarter" idx="42"/>
          </p:nvPr>
        </p:nvSpPr>
        <p:spPr>
          <a:xfrm>
            <a:off x="6066682" y="1112478"/>
            <a:ext cx="2572262" cy="153888"/>
          </a:xfrm>
        </p:spPr>
        <p:txBody>
          <a:bodyPr/>
          <a:lstStyle/>
          <a:p>
            <a:r>
              <a:rPr lang="en-US" noProof="0"/>
              <a:t>Content creation and review</a:t>
            </a:r>
          </a:p>
        </p:txBody>
      </p:sp>
      <p:sp>
        <p:nvSpPr>
          <p:cNvPr id="72" name="Text Placeholder 71">
            <a:extLst>
              <a:ext uri="{FF2B5EF4-FFF2-40B4-BE49-F238E27FC236}">
                <a16:creationId xmlns:a16="http://schemas.microsoft.com/office/drawing/2014/main" id="{B3906E4F-C931-B3BA-EEAE-1DA55E925C61}"/>
              </a:ext>
            </a:extLst>
          </p:cNvPr>
          <p:cNvSpPr>
            <a:spLocks noGrp="1"/>
          </p:cNvSpPr>
          <p:nvPr>
            <p:ph type="body" sz="quarter" idx="43"/>
          </p:nvPr>
        </p:nvSpPr>
        <p:spPr>
          <a:xfrm>
            <a:off x="6067425" y="1438275"/>
            <a:ext cx="2571750" cy="627063"/>
          </a:xfrm>
        </p:spPr>
        <p:txBody>
          <a:bodyPr/>
          <a:lstStyle/>
          <a:p>
            <a:r>
              <a:rPr lang="en-US" noProof="0"/>
              <a:t>Use Copilot to draft marketing content, such as blog posts, social media updates, and email campaigns. It provides real-time suggestions and helps maintain consistent messaging.</a:t>
            </a:r>
          </a:p>
        </p:txBody>
      </p:sp>
      <p:sp>
        <p:nvSpPr>
          <p:cNvPr id="76" name="Text Placeholder 75">
            <a:extLst>
              <a:ext uri="{FF2B5EF4-FFF2-40B4-BE49-F238E27FC236}">
                <a16:creationId xmlns:a16="http://schemas.microsoft.com/office/drawing/2014/main" id="{747DC656-42A3-28F9-91B3-6AA688CFCE40}"/>
              </a:ext>
            </a:extLst>
          </p:cNvPr>
          <p:cNvSpPr>
            <a:spLocks noGrp="1"/>
          </p:cNvSpPr>
          <p:nvPr>
            <p:ph type="body" sz="quarter" idx="68"/>
          </p:nvPr>
        </p:nvSpPr>
        <p:spPr>
          <a:xfrm>
            <a:off x="8950475" y="2725494"/>
            <a:ext cx="2572262" cy="712876"/>
          </a:xfrm>
        </p:spPr>
        <p:txBody>
          <a:bodyPr/>
          <a:lstStyle/>
          <a:p>
            <a:r>
              <a:rPr lang="en-US" noProof="0" dirty="0"/>
              <a:t>Benefit: </a:t>
            </a:r>
            <a:r>
              <a:rPr lang="en-US" dirty="0">
                <a:latin typeface="+mj-lt"/>
              </a:rPr>
              <a:t>Optimize campaigns</a:t>
            </a:r>
            <a:r>
              <a:rPr lang="en-US" noProof="0" dirty="0"/>
              <a:t> based on data-driven insights, leading to better ROI.</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3"/>
              </a:rPr>
              <a:t>Try in Prompt Gallery: Find insights</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noProof="0" dirty="0"/>
          </a:p>
        </p:txBody>
      </p:sp>
      <p:sp>
        <p:nvSpPr>
          <p:cNvPr id="74" name="Text Placeholder 73">
            <a:extLst>
              <a:ext uri="{FF2B5EF4-FFF2-40B4-BE49-F238E27FC236}">
                <a16:creationId xmlns:a16="http://schemas.microsoft.com/office/drawing/2014/main" id="{8FE893CD-BAB7-FD14-A58D-6984064763EB}"/>
              </a:ext>
            </a:extLst>
          </p:cNvPr>
          <p:cNvSpPr>
            <a:spLocks noGrp="1"/>
          </p:cNvSpPr>
          <p:nvPr>
            <p:ph type="body" sz="quarter" idx="45"/>
          </p:nvPr>
        </p:nvSpPr>
        <p:spPr>
          <a:xfrm>
            <a:off x="8950475" y="1112478"/>
            <a:ext cx="2572262" cy="153888"/>
          </a:xfrm>
        </p:spPr>
        <p:txBody>
          <a:bodyPr/>
          <a:lstStyle/>
          <a:p>
            <a:r>
              <a:rPr lang="en-US" noProof="0"/>
              <a:t>Data-driven insights</a:t>
            </a:r>
          </a:p>
        </p:txBody>
      </p:sp>
      <p:sp>
        <p:nvSpPr>
          <p:cNvPr id="75" name="Text Placeholder 74">
            <a:extLst>
              <a:ext uri="{FF2B5EF4-FFF2-40B4-BE49-F238E27FC236}">
                <a16:creationId xmlns:a16="http://schemas.microsoft.com/office/drawing/2014/main" id="{6D537541-4705-DE6B-D075-4D487EE1D09E}"/>
              </a:ext>
            </a:extLst>
          </p:cNvPr>
          <p:cNvSpPr>
            <a:spLocks noGrp="1"/>
          </p:cNvSpPr>
          <p:nvPr>
            <p:ph type="body" sz="quarter" idx="46"/>
          </p:nvPr>
        </p:nvSpPr>
        <p:spPr>
          <a:xfrm>
            <a:off x="8950325" y="1438275"/>
            <a:ext cx="2571750" cy="627063"/>
          </a:xfrm>
        </p:spPr>
        <p:txBody>
          <a:bodyPr/>
          <a:lstStyle/>
          <a:p>
            <a:r>
              <a:rPr lang="en-US" noProof="0"/>
              <a:t>Analyze campaign performance data with suggestions from Copilot in Excel for new formula columns and insightful charts.</a:t>
            </a:r>
          </a:p>
        </p:txBody>
      </p:sp>
      <p:sp>
        <p:nvSpPr>
          <p:cNvPr id="90" name="Text Placeholder 89">
            <a:extLst>
              <a:ext uri="{FF2B5EF4-FFF2-40B4-BE49-F238E27FC236}">
                <a16:creationId xmlns:a16="http://schemas.microsoft.com/office/drawing/2014/main" id="{1E246852-CC62-7322-3DC9-B0CC04DF5F86}"/>
              </a:ext>
            </a:extLst>
          </p:cNvPr>
          <p:cNvSpPr>
            <a:spLocks noGrp="1"/>
          </p:cNvSpPr>
          <p:nvPr>
            <p:ph type="body" sz="quarter" idx="70"/>
          </p:nvPr>
        </p:nvSpPr>
        <p:spPr>
          <a:xfrm>
            <a:off x="6066682" y="2725494"/>
            <a:ext cx="2572262" cy="712876"/>
          </a:xfrm>
        </p:spPr>
        <p:txBody>
          <a:bodyPr/>
          <a:lstStyle/>
          <a:p>
            <a:r>
              <a:rPr lang="en-US" noProof="0" dirty="0"/>
              <a:t>Benefit: </a:t>
            </a:r>
            <a:r>
              <a:rPr lang="en-US" dirty="0">
                <a:latin typeface="+mj-lt"/>
              </a:rPr>
              <a:t>Enhance content quality</a:t>
            </a:r>
            <a:r>
              <a:rPr lang="en-US" noProof="0" dirty="0"/>
              <a:t>, save time, and engage your audience effectively.</a:t>
            </a:r>
          </a:p>
          <a:p>
            <a:r>
              <a:rPr kumimoji="0" lang="en-US" sz="900" b="0" i="0" u="sng" strike="noStrike" kern="1200" cap="none" spc="0" normalizeH="0" baseline="0" noProof="0" dirty="0">
                <a:ln>
                  <a:noFill/>
                </a:ln>
                <a:solidFill>
                  <a:srgbClr val="0070C0"/>
                </a:solidFill>
                <a:effectLst/>
                <a:uLnTx/>
                <a:uFillTx/>
                <a:latin typeface="Segoe UI"/>
                <a:ea typeface="+mn-ea"/>
                <a:cs typeface="Segoe UI" panose="020B0502040204020203" pitchFamily="34" charset="0"/>
                <a:hlinkClick r:id="rId4"/>
              </a:rPr>
              <a:t>Try in Prompt Gallery: Test messaging clarity</a:t>
            </a:r>
            <a:endParaRPr kumimoji="0" lang="en-US" sz="1000" b="0" i="0" u="sng" strike="noStrike" kern="1200" cap="none" spc="0" normalizeH="0" baseline="0" noProof="0" dirty="0">
              <a:ln>
                <a:noFill/>
              </a:ln>
              <a:solidFill>
                <a:srgbClr val="0070C0"/>
              </a:solidFill>
              <a:effectLst/>
              <a:uLnTx/>
              <a:uFillTx/>
              <a:latin typeface="Segoe UI"/>
              <a:ea typeface="+mn-ea"/>
              <a:cs typeface="+mn-cs"/>
            </a:endParaRPr>
          </a:p>
          <a:p>
            <a:endParaRPr lang="en-US" noProof="0" dirty="0"/>
          </a:p>
        </p:txBody>
      </p:sp>
      <p:sp>
        <p:nvSpPr>
          <p:cNvPr id="77" name="Text Placeholder 76">
            <a:extLst>
              <a:ext uri="{FF2B5EF4-FFF2-40B4-BE49-F238E27FC236}">
                <a16:creationId xmlns:a16="http://schemas.microsoft.com/office/drawing/2014/main" id="{2CC1D01A-5A0E-0D32-07FB-F29F193B7EAB}"/>
              </a:ext>
            </a:extLst>
          </p:cNvPr>
          <p:cNvSpPr>
            <a:spLocks noGrp="1"/>
          </p:cNvSpPr>
          <p:nvPr>
            <p:ph type="body" sz="quarter" idx="48"/>
          </p:nvPr>
        </p:nvSpPr>
        <p:spPr>
          <a:xfrm>
            <a:off x="3182890" y="5334522"/>
            <a:ext cx="2572262" cy="712876"/>
          </a:xfrm>
        </p:spPr>
        <p:txBody>
          <a:bodyPr/>
          <a:lstStyle/>
          <a:p>
            <a:r>
              <a:rPr lang="en-US" noProof="0" dirty="0"/>
              <a:t>Benefit: </a:t>
            </a:r>
            <a:r>
              <a:rPr lang="en-US" dirty="0">
                <a:latin typeface="+mj-lt"/>
              </a:rPr>
              <a:t>Increase engagement</a:t>
            </a:r>
            <a:r>
              <a:rPr lang="en-US" noProof="0" dirty="0"/>
              <a:t>, deliver relevant content, and boost conversion rates.</a:t>
            </a:r>
          </a:p>
          <a:p>
            <a:r>
              <a:rPr kumimoji="0" lang="en-US" sz="900" b="0" i="0" u="none" strike="noStrike" kern="1200" cap="none" spc="0" normalizeH="0" baseline="0" noProof="0" dirty="0">
                <a:ln>
                  <a:noFill/>
                </a:ln>
                <a:solidFill>
                  <a:srgbClr val="1A1A1A"/>
                </a:solidFill>
                <a:effectLst/>
                <a:uLnTx/>
                <a:uFillTx/>
                <a:latin typeface="Segoe UI"/>
                <a:ea typeface="+mn-ea"/>
                <a:cs typeface="Segoe UI" pitchFamily="34" charset="0"/>
                <a:hlinkClick r:id="rId5"/>
              </a:rPr>
              <a:t>Try in Prompt Gallery: Tailor targeted campaigns</a:t>
            </a:r>
            <a:endParaRPr kumimoji="0" lang="en-US" sz="900" b="0" i="0" u="none" strike="noStrike" kern="1200" cap="none" spc="0" normalizeH="0" baseline="0" noProof="0" dirty="0">
              <a:ln>
                <a:noFill/>
              </a:ln>
              <a:solidFill>
                <a:srgbClr val="1A1A1A"/>
              </a:solidFill>
              <a:effectLst/>
              <a:uLnTx/>
              <a:uFillTx/>
              <a:latin typeface="Segoe UI"/>
              <a:ea typeface="+mn-ea"/>
              <a:cs typeface="Segoe UI" pitchFamily="34" charset="0"/>
            </a:endParaRPr>
          </a:p>
          <a:p>
            <a:endParaRPr lang="en-US" noProof="0" dirty="0"/>
          </a:p>
        </p:txBody>
      </p:sp>
      <p:sp>
        <p:nvSpPr>
          <p:cNvPr id="78" name="Text Placeholder 77">
            <a:extLst>
              <a:ext uri="{FF2B5EF4-FFF2-40B4-BE49-F238E27FC236}">
                <a16:creationId xmlns:a16="http://schemas.microsoft.com/office/drawing/2014/main" id="{3FBA2F06-41C3-2E05-939F-07B0DB1546A6}"/>
              </a:ext>
            </a:extLst>
          </p:cNvPr>
          <p:cNvSpPr>
            <a:spLocks noGrp="1"/>
          </p:cNvSpPr>
          <p:nvPr>
            <p:ph type="body" sz="quarter" idx="49"/>
          </p:nvPr>
        </p:nvSpPr>
        <p:spPr>
          <a:xfrm>
            <a:off x="3182890" y="3725103"/>
            <a:ext cx="2572262" cy="153888"/>
          </a:xfrm>
        </p:spPr>
        <p:txBody>
          <a:bodyPr/>
          <a:lstStyle/>
          <a:p>
            <a:r>
              <a:rPr lang="en-US" noProof="0"/>
              <a:t>Personalized customer segmentation</a:t>
            </a:r>
          </a:p>
        </p:txBody>
      </p:sp>
      <p:sp>
        <p:nvSpPr>
          <p:cNvPr id="79" name="Text Placeholder 78">
            <a:extLst>
              <a:ext uri="{FF2B5EF4-FFF2-40B4-BE49-F238E27FC236}">
                <a16:creationId xmlns:a16="http://schemas.microsoft.com/office/drawing/2014/main" id="{28E67420-810A-7DB0-4713-F85C71E78529}"/>
              </a:ext>
            </a:extLst>
          </p:cNvPr>
          <p:cNvSpPr>
            <a:spLocks noGrp="1"/>
          </p:cNvSpPr>
          <p:nvPr>
            <p:ph type="body" sz="quarter" idx="50"/>
          </p:nvPr>
        </p:nvSpPr>
        <p:spPr>
          <a:xfrm>
            <a:off x="3182938" y="4051300"/>
            <a:ext cx="2571750" cy="627063"/>
          </a:xfrm>
        </p:spPr>
        <p:txBody>
          <a:bodyPr/>
          <a:lstStyle/>
          <a:p>
            <a:r>
              <a:rPr lang="en-US" noProof="0"/>
              <a:t>Prompt Copilot to recommend customer segmentation options for consideration.</a:t>
            </a:r>
          </a:p>
          <a:p>
            <a:endParaRPr lang="en-US" noProof="0"/>
          </a:p>
        </p:txBody>
      </p:sp>
      <p:sp>
        <p:nvSpPr>
          <p:cNvPr id="80" name="Text Placeholder 79">
            <a:extLst>
              <a:ext uri="{FF2B5EF4-FFF2-40B4-BE49-F238E27FC236}">
                <a16:creationId xmlns:a16="http://schemas.microsoft.com/office/drawing/2014/main" id="{AEAAC525-2A7A-E7A8-5138-092BA18457B5}"/>
              </a:ext>
            </a:extLst>
          </p:cNvPr>
          <p:cNvSpPr>
            <a:spLocks noGrp="1"/>
          </p:cNvSpPr>
          <p:nvPr>
            <p:ph type="body" sz="quarter" idx="51"/>
          </p:nvPr>
        </p:nvSpPr>
        <p:spPr>
          <a:xfrm>
            <a:off x="6066682" y="3725103"/>
            <a:ext cx="2572262" cy="153888"/>
          </a:xfrm>
        </p:spPr>
        <p:txBody>
          <a:bodyPr/>
          <a:lstStyle/>
          <a:p>
            <a:r>
              <a:rPr lang="en-US" noProof="0"/>
              <a:t>Collaborative campaign review</a:t>
            </a:r>
          </a:p>
        </p:txBody>
      </p:sp>
      <p:sp>
        <p:nvSpPr>
          <p:cNvPr id="81" name="Text Placeholder 80">
            <a:extLst>
              <a:ext uri="{FF2B5EF4-FFF2-40B4-BE49-F238E27FC236}">
                <a16:creationId xmlns:a16="http://schemas.microsoft.com/office/drawing/2014/main" id="{2EC5CCDB-3998-F534-D477-7942C2C3BB5C}"/>
              </a:ext>
            </a:extLst>
          </p:cNvPr>
          <p:cNvSpPr>
            <a:spLocks noGrp="1"/>
          </p:cNvSpPr>
          <p:nvPr>
            <p:ph type="body" sz="quarter" idx="52"/>
          </p:nvPr>
        </p:nvSpPr>
        <p:spPr>
          <a:xfrm>
            <a:off x="6067425" y="4051300"/>
            <a:ext cx="2571750" cy="627063"/>
          </a:xfrm>
        </p:spPr>
        <p:txBody>
          <a:bodyPr/>
          <a:lstStyle/>
          <a:p>
            <a:r>
              <a:rPr lang="en-US" noProof="0"/>
              <a:t>During campaign reviews, Copilot in Teams assists in summarizing key points, identifying areas for improvement, and suggesting next steps.</a:t>
            </a:r>
          </a:p>
          <a:p>
            <a:endParaRPr lang="en-US" noProof="0"/>
          </a:p>
        </p:txBody>
      </p:sp>
      <p:sp>
        <p:nvSpPr>
          <p:cNvPr id="70" name="Text Placeholder 69">
            <a:extLst>
              <a:ext uri="{FF2B5EF4-FFF2-40B4-BE49-F238E27FC236}">
                <a16:creationId xmlns:a16="http://schemas.microsoft.com/office/drawing/2014/main" id="{B702550D-D3D0-D945-7C60-537A468E1E05}"/>
              </a:ext>
            </a:extLst>
          </p:cNvPr>
          <p:cNvSpPr>
            <a:spLocks noGrp="1"/>
          </p:cNvSpPr>
          <p:nvPr>
            <p:ph type="body" sz="quarter" idx="66"/>
          </p:nvPr>
        </p:nvSpPr>
        <p:spPr>
          <a:xfrm>
            <a:off x="8950475" y="5334522"/>
            <a:ext cx="2572262" cy="712876"/>
          </a:xfrm>
        </p:spPr>
        <p:txBody>
          <a:bodyPr/>
          <a:lstStyle/>
          <a:p>
            <a:r>
              <a:rPr lang="en-US" noProof="0" dirty="0"/>
              <a:t>Benefit: </a:t>
            </a:r>
            <a:r>
              <a:rPr lang="en-US" dirty="0">
                <a:latin typeface="+mj-lt"/>
              </a:rPr>
              <a:t>Streamline social media management</a:t>
            </a:r>
            <a:r>
              <a:rPr lang="en-US" noProof="0" dirty="0"/>
              <a:t>, maintain consistency, and reach your audience at optimal times.</a:t>
            </a:r>
          </a:p>
          <a:p>
            <a:r>
              <a:rPr kumimoji="0" lang="en-US" sz="900" b="0" i="0" u="none" strike="noStrike" kern="1200" cap="none" spc="0" normalizeH="0" baseline="0" noProof="0" dirty="0">
                <a:ln>
                  <a:noFill/>
                </a:ln>
                <a:solidFill>
                  <a:srgbClr val="1A1A1A"/>
                </a:solidFill>
                <a:effectLst/>
                <a:uLnTx/>
                <a:uFillTx/>
                <a:latin typeface="Segoe UI"/>
                <a:ea typeface="+mn-ea"/>
                <a:cs typeface="Segoe UI" pitchFamily="34" charset="0"/>
                <a:hlinkClick r:id="rId6"/>
              </a:rPr>
              <a:t>Try in Prompt Gallery: Oversee content strategy</a:t>
            </a:r>
            <a:endParaRPr kumimoji="0" lang="en-US" sz="900" b="0" i="0" u="none" strike="noStrike" kern="1200" cap="none" spc="0" normalizeH="0" baseline="0" noProof="0" dirty="0">
              <a:ln>
                <a:noFill/>
              </a:ln>
              <a:solidFill>
                <a:srgbClr val="1A1A1A"/>
              </a:solidFill>
              <a:effectLst/>
              <a:uLnTx/>
              <a:uFillTx/>
              <a:latin typeface="Segoe UI"/>
              <a:ea typeface="+mn-ea"/>
              <a:cs typeface="Segoe UI" pitchFamily="34" charset="0"/>
            </a:endParaRPr>
          </a:p>
          <a:p>
            <a:endParaRPr lang="en-US" noProof="0" dirty="0"/>
          </a:p>
        </p:txBody>
      </p:sp>
      <p:sp>
        <p:nvSpPr>
          <p:cNvPr id="88" name="Text Placeholder 87">
            <a:extLst>
              <a:ext uri="{FF2B5EF4-FFF2-40B4-BE49-F238E27FC236}">
                <a16:creationId xmlns:a16="http://schemas.microsoft.com/office/drawing/2014/main" id="{259E110C-13D0-2CE8-20E4-A78045B86474}"/>
              </a:ext>
            </a:extLst>
          </p:cNvPr>
          <p:cNvSpPr>
            <a:spLocks noGrp="1"/>
          </p:cNvSpPr>
          <p:nvPr>
            <p:ph type="body" sz="quarter" idx="54"/>
          </p:nvPr>
        </p:nvSpPr>
        <p:spPr>
          <a:xfrm>
            <a:off x="8950475" y="3725103"/>
            <a:ext cx="2572262" cy="153888"/>
          </a:xfrm>
        </p:spPr>
        <p:txBody>
          <a:bodyPr/>
          <a:lstStyle/>
          <a:p>
            <a:r>
              <a:rPr lang="en-US" noProof="0"/>
              <a:t>Social media scheduling</a:t>
            </a:r>
          </a:p>
        </p:txBody>
      </p:sp>
      <p:sp>
        <p:nvSpPr>
          <p:cNvPr id="89" name="Text Placeholder 88">
            <a:extLst>
              <a:ext uri="{FF2B5EF4-FFF2-40B4-BE49-F238E27FC236}">
                <a16:creationId xmlns:a16="http://schemas.microsoft.com/office/drawing/2014/main" id="{D3852CCE-50A2-DE66-1DEC-F43D7BEF1443}"/>
              </a:ext>
            </a:extLst>
          </p:cNvPr>
          <p:cNvSpPr>
            <a:spLocks noGrp="1"/>
          </p:cNvSpPr>
          <p:nvPr>
            <p:ph type="body" sz="quarter" idx="55"/>
          </p:nvPr>
        </p:nvSpPr>
        <p:spPr>
          <a:xfrm>
            <a:off x="8950325" y="4051300"/>
            <a:ext cx="2571750" cy="627063"/>
          </a:xfrm>
        </p:spPr>
        <p:txBody>
          <a:bodyPr/>
          <a:lstStyle/>
          <a:p>
            <a:r>
              <a:rPr lang="en-US" noProof="0"/>
              <a:t>Set up social media posting schedules using Copilot in Planner. It can create tasks, assign deadlines, and remind team members to publish content.</a:t>
            </a:r>
          </a:p>
          <a:p>
            <a:endParaRPr lang="en-US" noProof="0"/>
          </a:p>
        </p:txBody>
      </p:sp>
      <p:sp>
        <p:nvSpPr>
          <p:cNvPr id="73" name="Text Placeholder 72">
            <a:extLst>
              <a:ext uri="{FF2B5EF4-FFF2-40B4-BE49-F238E27FC236}">
                <a16:creationId xmlns:a16="http://schemas.microsoft.com/office/drawing/2014/main" id="{1EE612A3-A457-B3BE-F9E2-CB52305B7298}"/>
              </a:ext>
            </a:extLst>
          </p:cNvPr>
          <p:cNvSpPr>
            <a:spLocks noGrp="1"/>
          </p:cNvSpPr>
          <p:nvPr>
            <p:ph type="body" sz="quarter" idx="67"/>
          </p:nvPr>
        </p:nvSpPr>
        <p:spPr>
          <a:xfrm>
            <a:off x="6066682" y="5334522"/>
            <a:ext cx="2572262" cy="712876"/>
          </a:xfrm>
        </p:spPr>
        <p:txBody>
          <a:bodyPr/>
          <a:lstStyle/>
          <a:p>
            <a:r>
              <a:rPr lang="en-US" noProof="0" dirty="0"/>
              <a:t>Benefit: </a:t>
            </a:r>
            <a:r>
              <a:rPr lang="en-US" dirty="0">
                <a:latin typeface="+mj-lt"/>
              </a:rPr>
              <a:t>Facilitate efficient discussions</a:t>
            </a:r>
            <a:r>
              <a:rPr lang="en-US" noProof="0" dirty="0"/>
              <a:t>, align stakeholders, and drive campaign success.</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7"/>
              </a:rPr>
              <a:t>Try in Prompt Gallery: Keep things moving</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noProof="0" dirty="0"/>
          </a:p>
        </p:txBody>
      </p:sp>
      <p:sp>
        <p:nvSpPr>
          <p:cNvPr id="91" name="Text Placeholder 90">
            <a:extLst>
              <a:ext uri="{FF2B5EF4-FFF2-40B4-BE49-F238E27FC236}">
                <a16:creationId xmlns:a16="http://schemas.microsoft.com/office/drawing/2014/main" id="{E48E6FE8-171B-C370-4DE6-A35DD983C16E}"/>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92" name="Text Placeholder 91">
            <a:extLst>
              <a:ext uri="{FF2B5EF4-FFF2-40B4-BE49-F238E27FC236}">
                <a16:creationId xmlns:a16="http://schemas.microsoft.com/office/drawing/2014/main" id="{0795D3AB-0D40-2D6D-F0E6-D390924DDB07}"/>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95" name="Group 94">
            <a:extLst>
              <a:ext uri="{FF2B5EF4-FFF2-40B4-BE49-F238E27FC236}">
                <a16:creationId xmlns:a16="http://schemas.microsoft.com/office/drawing/2014/main" id="{BFB4F155-C588-2AA7-44FB-71250E9CD540}"/>
              </a:ext>
            </a:extLst>
          </p:cNvPr>
          <p:cNvGrpSpPr/>
          <p:nvPr/>
        </p:nvGrpSpPr>
        <p:grpSpPr>
          <a:xfrm>
            <a:off x="320719" y="5020658"/>
            <a:ext cx="1771605" cy="216000"/>
            <a:chOff x="320719" y="4224856"/>
            <a:chExt cx="1771605" cy="219456"/>
          </a:xfrm>
        </p:grpSpPr>
        <p:sp>
          <p:nvSpPr>
            <p:cNvPr id="96" name="Rectangle: Rounded Corners 6">
              <a:extLst>
                <a:ext uri="{FF2B5EF4-FFF2-40B4-BE49-F238E27FC236}">
                  <a16:creationId xmlns:a16="http://schemas.microsoft.com/office/drawing/2014/main" id="{79DA498E-55DC-8F1C-EF81-5DF12A30C261}"/>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97" name="Graphic 96">
              <a:extLst>
                <a:ext uri="{FF2B5EF4-FFF2-40B4-BE49-F238E27FC236}">
                  <a16:creationId xmlns:a16="http://schemas.microsoft.com/office/drawing/2014/main" id="{52D60ECF-160F-68F8-5947-57B7A70DEBB0}"/>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6" y="4260849"/>
              <a:ext cx="144000" cy="144000"/>
            </a:xfrm>
            <a:prstGeom prst="rect">
              <a:avLst/>
            </a:prstGeom>
          </p:spPr>
        </p:pic>
      </p:grpSp>
      <p:grpSp>
        <p:nvGrpSpPr>
          <p:cNvPr id="98" name="Group 97">
            <a:extLst>
              <a:ext uri="{FF2B5EF4-FFF2-40B4-BE49-F238E27FC236}">
                <a16:creationId xmlns:a16="http://schemas.microsoft.com/office/drawing/2014/main" id="{0C9A2F82-AA76-E463-5297-79B60385B2B7}"/>
              </a:ext>
            </a:extLst>
          </p:cNvPr>
          <p:cNvGrpSpPr/>
          <p:nvPr/>
        </p:nvGrpSpPr>
        <p:grpSpPr>
          <a:xfrm>
            <a:off x="320721" y="5309272"/>
            <a:ext cx="1771605" cy="216000"/>
            <a:chOff x="320721" y="4517211"/>
            <a:chExt cx="1771605" cy="216000"/>
          </a:xfrm>
        </p:grpSpPr>
        <p:sp>
          <p:nvSpPr>
            <p:cNvPr id="99" name="Rectangle: Rounded Corners 6">
              <a:extLst>
                <a:ext uri="{FF2B5EF4-FFF2-40B4-BE49-F238E27FC236}">
                  <a16:creationId xmlns:a16="http://schemas.microsoft.com/office/drawing/2014/main" id="{A1087369-6F1D-198D-1FE9-0470F892D133}"/>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00" name="Graphic 99">
              <a:extLst>
                <a:ext uri="{FF2B5EF4-FFF2-40B4-BE49-F238E27FC236}">
                  <a16:creationId xmlns:a16="http://schemas.microsoft.com/office/drawing/2014/main" id="{0D95D5E2-2BEC-F204-429D-E55EB412656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7507" y="4552645"/>
              <a:ext cx="144000" cy="141732"/>
            </a:xfrm>
            <a:prstGeom prst="rect">
              <a:avLst/>
            </a:prstGeom>
          </p:spPr>
        </p:pic>
      </p:grpSp>
      <p:grpSp>
        <p:nvGrpSpPr>
          <p:cNvPr id="101" name="Group 100">
            <a:extLst>
              <a:ext uri="{FF2B5EF4-FFF2-40B4-BE49-F238E27FC236}">
                <a16:creationId xmlns:a16="http://schemas.microsoft.com/office/drawing/2014/main" id="{95F7EA38-DC4A-C838-6775-7E6A3732A969}"/>
              </a:ext>
            </a:extLst>
          </p:cNvPr>
          <p:cNvGrpSpPr/>
          <p:nvPr/>
        </p:nvGrpSpPr>
        <p:grpSpPr>
          <a:xfrm>
            <a:off x="320719" y="3778836"/>
            <a:ext cx="1771605" cy="216000"/>
            <a:chOff x="320719" y="4224856"/>
            <a:chExt cx="1771605" cy="219456"/>
          </a:xfrm>
        </p:grpSpPr>
        <p:sp>
          <p:nvSpPr>
            <p:cNvPr id="102" name="Rectangle: Rounded Corners 6">
              <a:extLst>
                <a:ext uri="{FF2B5EF4-FFF2-40B4-BE49-F238E27FC236}">
                  <a16:creationId xmlns:a16="http://schemas.microsoft.com/office/drawing/2014/main" id="{A9CB1CB0-3A0E-1FAC-41D4-EE82F559CF6E}"/>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103" name="Graphic 102">
              <a:extLst>
                <a:ext uri="{FF2B5EF4-FFF2-40B4-BE49-F238E27FC236}">
                  <a16:creationId xmlns:a16="http://schemas.microsoft.com/office/drawing/2014/main" id="{06E1331B-9F0D-7480-6E56-08D15C77C856}"/>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67506" y="4260849"/>
              <a:ext cx="144000" cy="144000"/>
            </a:xfrm>
            <a:prstGeom prst="rect">
              <a:avLst/>
            </a:prstGeom>
          </p:spPr>
        </p:pic>
      </p:grpSp>
      <p:grpSp>
        <p:nvGrpSpPr>
          <p:cNvPr id="104" name="Group 103">
            <a:extLst>
              <a:ext uri="{FF2B5EF4-FFF2-40B4-BE49-F238E27FC236}">
                <a16:creationId xmlns:a16="http://schemas.microsoft.com/office/drawing/2014/main" id="{A227C9B8-85B4-2190-01E4-2ABE1EE0AE04}"/>
              </a:ext>
            </a:extLst>
          </p:cNvPr>
          <p:cNvGrpSpPr/>
          <p:nvPr/>
        </p:nvGrpSpPr>
        <p:grpSpPr>
          <a:xfrm>
            <a:off x="320721" y="4067450"/>
            <a:ext cx="1771605" cy="216000"/>
            <a:chOff x="320721" y="4517211"/>
            <a:chExt cx="1771605" cy="216000"/>
          </a:xfrm>
        </p:grpSpPr>
        <p:sp>
          <p:nvSpPr>
            <p:cNvPr id="105" name="Rectangle: Rounded Corners 6">
              <a:extLst>
                <a:ext uri="{FF2B5EF4-FFF2-40B4-BE49-F238E27FC236}">
                  <a16:creationId xmlns:a16="http://schemas.microsoft.com/office/drawing/2014/main" id="{81075AC4-0BC7-4D8A-C48C-74C2A8C8E799}"/>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Marketing spend</a:t>
              </a:r>
            </a:p>
          </p:txBody>
        </p:sp>
        <p:pic>
          <p:nvPicPr>
            <p:cNvPr id="106" name="Graphic 105">
              <a:extLst>
                <a:ext uri="{FF2B5EF4-FFF2-40B4-BE49-F238E27FC236}">
                  <a16:creationId xmlns:a16="http://schemas.microsoft.com/office/drawing/2014/main" id="{AECE722D-B755-2007-0FBA-D5E387449DF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67507" y="4552645"/>
              <a:ext cx="144000" cy="141732"/>
            </a:xfrm>
            <a:prstGeom prst="rect">
              <a:avLst/>
            </a:prstGeom>
          </p:spPr>
        </p:pic>
      </p:grpSp>
      <p:grpSp>
        <p:nvGrpSpPr>
          <p:cNvPr id="107" name="Group 106">
            <a:extLst>
              <a:ext uri="{FF2B5EF4-FFF2-40B4-BE49-F238E27FC236}">
                <a16:creationId xmlns:a16="http://schemas.microsoft.com/office/drawing/2014/main" id="{25EB66F9-09C3-473F-EF7C-F2BD6DD149CF}"/>
              </a:ext>
            </a:extLst>
          </p:cNvPr>
          <p:cNvGrpSpPr/>
          <p:nvPr/>
        </p:nvGrpSpPr>
        <p:grpSpPr>
          <a:xfrm>
            <a:off x="320719" y="4356602"/>
            <a:ext cx="1771605" cy="216000"/>
            <a:chOff x="320719" y="4224856"/>
            <a:chExt cx="1771605" cy="219456"/>
          </a:xfrm>
        </p:grpSpPr>
        <p:sp>
          <p:nvSpPr>
            <p:cNvPr id="108" name="Rectangle: Rounded Corners 6">
              <a:extLst>
                <a:ext uri="{FF2B5EF4-FFF2-40B4-BE49-F238E27FC236}">
                  <a16:creationId xmlns:a16="http://schemas.microsoft.com/office/drawing/2014/main" id="{1EBD3BAB-C52D-AD02-6F76-4E3B39B3850C}"/>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onversion rate</a:t>
              </a:r>
            </a:p>
          </p:txBody>
        </p:sp>
        <p:pic>
          <p:nvPicPr>
            <p:cNvPr id="109" name="Graphic 108">
              <a:extLst>
                <a:ext uri="{FF2B5EF4-FFF2-40B4-BE49-F238E27FC236}">
                  <a16:creationId xmlns:a16="http://schemas.microsoft.com/office/drawing/2014/main" id="{B66894BD-E1ED-F942-03F5-8509E98AA1BC}"/>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67506" y="4260849"/>
              <a:ext cx="144000" cy="144000"/>
            </a:xfrm>
            <a:prstGeom prst="rect">
              <a:avLst/>
            </a:prstGeom>
          </p:spPr>
        </p:pic>
      </p:grpSp>
      <p:pic>
        <p:nvPicPr>
          <p:cNvPr id="1040" name="Picture 50">
            <a:hlinkClick r:id="rId12"/>
            <a:extLst>
              <a:ext uri="{FF2B5EF4-FFF2-40B4-BE49-F238E27FC236}">
                <a16:creationId xmlns:a16="http://schemas.microsoft.com/office/drawing/2014/main" id="{3EB62ADA-40D7-1AED-1CFC-DAF2698DDE9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67425"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1045" name="TextBox 1044">
            <a:extLst>
              <a:ext uri="{FF2B5EF4-FFF2-40B4-BE49-F238E27FC236}">
                <a16:creationId xmlns:a16="http://schemas.microsoft.com/office/drawing/2014/main" id="{4B95C216-4EFD-698F-F062-C5CB2E28C244}"/>
              </a:ext>
              <a:ext uri="{C183D7F6-B498-43B3-948B-1728B52AA6E4}">
                <adec:decorative xmlns:adec="http://schemas.microsoft.com/office/drawing/2017/decorative" val="0"/>
              </a:ext>
            </a:extLst>
          </p:cNvPr>
          <p:cNvSpPr txBox="1"/>
          <p:nvPr/>
        </p:nvSpPr>
        <p:spPr>
          <a:xfrm>
            <a:off x="3552452" y="2251283"/>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pic>
        <p:nvPicPr>
          <p:cNvPr id="1046" name="Picture 6" descr="Microsoft Teams Logo, symbol, meaning, history, PNG, brand">
            <a:extLst>
              <a:ext uri="{FF2B5EF4-FFF2-40B4-BE49-F238E27FC236}">
                <a16:creationId xmlns:a16="http://schemas.microsoft.com/office/drawing/2014/main" id="{3FBB029D-9A26-8815-2D77-A047238F615F}"/>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19049" r="19049"/>
          <a:stretch/>
        </p:blipFill>
        <p:spPr bwMode="auto">
          <a:xfrm>
            <a:off x="3182938" y="2216566"/>
            <a:ext cx="245612" cy="223322"/>
          </a:xfrm>
          <a:prstGeom prst="rect">
            <a:avLst/>
          </a:prstGeom>
          <a:noFill/>
          <a:extLst>
            <a:ext uri="{909E8E84-426E-40DD-AFC4-6F175D3DCCD1}">
              <a14:hiddenFill xmlns:a14="http://schemas.microsoft.com/office/drawing/2010/main">
                <a:solidFill>
                  <a:srgbClr val="FFFFFF"/>
                </a:solidFill>
              </a14:hiddenFill>
            </a:ext>
          </a:extLst>
        </p:spPr>
      </p:pic>
      <p:pic>
        <p:nvPicPr>
          <p:cNvPr id="1049" name="Graphic 1048">
            <a:extLst>
              <a:ext uri="{FF2B5EF4-FFF2-40B4-BE49-F238E27FC236}">
                <a16:creationId xmlns:a16="http://schemas.microsoft.com/office/drawing/2014/main" id="{4836023B-AB23-E268-37B8-A5150CA19870}"/>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t="-5682" b="-5682"/>
          <a:stretch/>
        </p:blipFill>
        <p:spPr>
          <a:xfrm>
            <a:off x="8950325" y="2217886"/>
            <a:ext cx="220682" cy="220682"/>
          </a:xfrm>
          <a:prstGeom prst="rect">
            <a:avLst/>
          </a:prstGeom>
        </p:spPr>
      </p:pic>
      <p:pic>
        <p:nvPicPr>
          <p:cNvPr id="1061" name="Picture 50">
            <a:hlinkClick r:id="rId12"/>
            <a:extLst>
              <a:ext uri="{FF2B5EF4-FFF2-40B4-BE49-F238E27FC236}">
                <a16:creationId xmlns:a16="http://schemas.microsoft.com/office/drawing/2014/main" id="{EAAC4FB1-ED11-BBDE-CB3F-800F4B73465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82938" y="4827017"/>
            <a:ext cx="242374" cy="242374"/>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6" descr="Microsoft Teams Logo, symbol, meaning, history, PNG, brand">
            <a:extLst>
              <a:ext uri="{FF2B5EF4-FFF2-40B4-BE49-F238E27FC236}">
                <a16:creationId xmlns:a16="http://schemas.microsoft.com/office/drawing/2014/main" id="{C14FEACF-5F8A-4AD0-509B-8F900EA60E1B}"/>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19049" r="19049"/>
          <a:stretch/>
        </p:blipFill>
        <p:spPr bwMode="auto">
          <a:xfrm>
            <a:off x="6067425" y="4836543"/>
            <a:ext cx="245612" cy="223322"/>
          </a:xfrm>
          <a:prstGeom prst="rect">
            <a:avLst/>
          </a:prstGeom>
          <a:noFill/>
          <a:extLst>
            <a:ext uri="{909E8E84-426E-40DD-AFC4-6F175D3DCCD1}">
              <a14:hiddenFill xmlns:a14="http://schemas.microsoft.com/office/drawing/2010/main">
                <a:solidFill>
                  <a:srgbClr val="FFFFFF"/>
                </a:solidFill>
              </a14:hiddenFill>
            </a:ext>
          </a:extLst>
        </p:spPr>
      </p:pic>
      <p:pic>
        <p:nvPicPr>
          <p:cNvPr id="1067" name="Picture 2" descr="What will the New Microsoft Planner offer in 2024? - TPG The Project Group">
            <a:extLst>
              <a:ext uri="{FF2B5EF4-FFF2-40B4-BE49-F238E27FC236}">
                <a16:creationId xmlns:a16="http://schemas.microsoft.com/office/drawing/2014/main" id="{5367CC34-55CA-D3DB-E85C-45189F71A966}"/>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950325" y="4813458"/>
            <a:ext cx="269492" cy="269492"/>
          </a:xfrm>
          <a:prstGeom prst="rect">
            <a:avLst/>
          </a:prstGeom>
          <a:noFill/>
          <a:extLst>
            <a:ext uri="{909E8E84-426E-40DD-AFC4-6F175D3DCCD1}">
              <a14:hiddenFill xmlns:a14="http://schemas.microsoft.com/office/drawing/2010/main">
                <a:solidFill>
                  <a:srgbClr val="FFFFFF"/>
                </a:solidFill>
              </a14:hiddenFill>
            </a:ext>
          </a:extLst>
        </p:spPr>
      </p:pic>
      <p:sp>
        <p:nvSpPr>
          <p:cNvPr id="1081" name="TextBox 1080">
            <a:extLst>
              <a:ext uri="{FF2B5EF4-FFF2-40B4-BE49-F238E27FC236}">
                <a16:creationId xmlns:a16="http://schemas.microsoft.com/office/drawing/2014/main" id="{2E9E1DED-9C7A-7794-2EEB-4C3692BFA497}"/>
              </a:ext>
              <a:ext uri="{C183D7F6-B498-43B3-948B-1728B52AA6E4}">
                <adec:decorative xmlns:adec="http://schemas.microsoft.com/office/drawing/2017/decorative" val="0"/>
              </a:ext>
            </a:extLst>
          </p:cNvPr>
          <p:cNvSpPr txBox="1"/>
          <p:nvPr/>
        </p:nvSpPr>
        <p:spPr>
          <a:xfrm>
            <a:off x="9329077" y="2101850"/>
            <a:ext cx="1830524" cy="4527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Excel</a:t>
            </a:r>
          </a:p>
        </p:txBody>
      </p:sp>
      <p:sp>
        <p:nvSpPr>
          <p:cNvPr id="1084" name="TextBox 1083">
            <a:extLst>
              <a:ext uri="{FF2B5EF4-FFF2-40B4-BE49-F238E27FC236}">
                <a16:creationId xmlns:a16="http://schemas.microsoft.com/office/drawing/2014/main" id="{EDD54CE1-2136-9998-8305-3E5D5366C669}"/>
              </a:ext>
              <a:ext uri="{C183D7F6-B498-43B3-948B-1728B52AA6E4}">
                <adec:decorative xmlns:adec="http://schemas.microsoft.com/office/drawing/2017/decorative" val="0"/>
              </a:ext>
            </a:extLst>
          </p:cNvPr>
          <p:cNvSpPr txBox="1"/>
          <p:nvPr/>
        </p:nvSpPr>
        <p:spPr>
          <a:xfrm>
            <a:off x="3552452" y="4785360"/>
            <a:ext cx="1490793"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sp>
        <p:nvSpPr>
          <p:cNvPr id="1086" name="TextBox 1085">
            <a:extLst>
              <a:ext uri="{FF2B5EF4-FFF2-40B4-BE49-F238E27FC236}">
                <a16:creationId xmlns:a16="http://schemas.microsoft.com/office/drawing/2014/main" id="{CC484753-50E0-F2B0-D537-CAE7459DB1A6}"/>
              </a:ext>
              <a:ext uri="{C183D7F6-B498-43B3-948B-1728B52AA6E4}">
                <adec:decorative xmlns:adec="http://schemas.microsoft.com/office/drawing/2017/decorative" val="0"/>
              </a:ext>
            </a:extLst>
          </p:cNvPr>
          <p:cNvSpPr txBox="1"/>
          <p:nvPr/>
        </p:nvSpPr>
        <p:spPr>
          <a:xfrm>
            <a:off x="6445284" y="4785360"/>
            <a:ext cx="1830524"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sp>
        <p:nvSpPr>
          <p:cNvPr id="1087" name="TextBox 1086">
            <a:extLst>
              <a:ext uri="{FF2B5EF4-FFF2-40B4-BE49-F238E27FC236}">
                <a16:creationId xmlns:a16="http://schemas.microsoft.com/office/drawing/2014/main" id="{97E8FB9E-E72F-0E3D-CD34-2962E6679360}"/>
              </a:ext>
              <a:ext uri="{C183D7F6-B498-43B3-948B-1728B52AA6E4}">
                <adec:decorative xmlns:adec="http://schemas.microsoft.com/office/drawing/2017/decorative" val="0"/>
              </a:ext>
            </a:extLst>
          </p:cNvPr>
          <p:cNvSpPr txBox="1"/>
          <p:nvPr/>
        </p:nvSpPr>
        <p:spPr>
          <a:xfrm>
            <a:off x="9329077" y="4785360"/>
            <a:ext cx="1830524"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Planner</a:t>
            </a:r>
          </a:p>
        </p:txBody>
      </p:sp>
    </p:spTree>
    <p:extLst>
      <p:ext uri="{BB962C8B-B14F-4D97-AF65-F5344CB8AC3E}">
        <p14:creationId xmlns:p14="http://schemas.microsoft.com/office/powerpoint/2010/main" val="356136873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8F682AE0-0EE0-807F-9E86-083AB8C6E89D}"/>
              </a:ext>
            </a:extLst>
          </p:cNvPr>
          <p:cNvSpPr>
            <a:spLocks noGrp="1"/>
          </p:cNvSpPr>
          <p:nvPr>
            <p:ph type="body" sz="quarter" idx="42"/>
          </p:nvPr>
        </p:nvSpPr>
        <p:spPr>
          <a:xfrm>
            <a:off x="311388" y="1026303"/>
            <a:ext cx="2431246" cy="1131079"/>
          </a:xfrm>
        </p:spPr>
        <p:txBody>
          <a:bodyPr/>
          <a:lstStyle/>
          <a:p>
            <a:r>
              <a:rPr lang="en-US" noProof="0" dirty="0"/>
              <a:t>AI can assist across the entire marketing campaign process from determining the audience, creating content, and analyzing performance.</a:t>
            </a:r>
          </a:p>
          <a:p>
            <a:endParaRPr lang="en-US" dirty="0"/>
          </a:p>
          <a:p>
            <a:r>
              <a:rPr lang="en-US" sz="1050" noProof="0" dirty="0">
                <a:latin typeface="+mj-lt"/>
              </a:rPr>
              <a:t>Customer reference: </a:t>
            </a:r>
            <a:r>
              <a:rPr lang="en-US" sz="1050" noProof="0" dirty="0">
                <a:hlinkClick r:id="rId2"/>
              </a:rPr>
              <a:t>Joos uses Copilot to grow its brand</a:t>
            </a:r>
            <a:endParaRPr lang="en-US" sz="1050" noProof="0" dirty="0"/>
          </a:p>
          <a:p>
            <a:endParaRPr lang="en-US" noProof="0" dirty="0"/>
          </a:p>
        </p:txBody>
      </p:sp>
      <p:sp>
        <p:nvSpPr>
          <p:cNvPr id="114" name="Text Placeholder 113">
            <a:extLst>
              <a:ext uri="{FF2B5EF4-FFF2-40B4-BE49-F238E27FC236}">
                <a16:creationId xmlns:a16="http://schemas.microsoft.com/office/drawing/2014/main" id="{34479995-5C2B-0367-A75E-5E53F7DD3C6D}"/>
              </a:ext>
            </a:extLst>
          </p:cNvPr>
          <p:cNvSpPr>
            <a:spLocks noGrp="1"/>
          </p:cNvSpPr>
          <p:nvPr>
            <p:ph type="body" sz="quarter" idx="43"/>
          </p:nvPr>
        </p:nvSpPr>
        <p:spPr>
          <a:xfrm>
            <a:off x="10430351" y="521099"/>
            <a:ext cx="1456966" cy="175614"/>
          </a:xfrm>
        </p:spPr>
        <p:txBody>
          <a:bodyPr/>
          <a:lstStyle/>
          <a:p>
            <a:r>
              <a:rPr lang="en-US" noProof="0"/>
              <a:t>Extend</a:t>
            </a:r>
          </a:p>
        </p:txBody>
      </p:sp>
      <p:sp>
        <p:nvSpPr>
          <p:cNvPr id="115" name="Text Placeholder 114">
            <a:extLst>
              <a:ext uri="{FF2B5EF4-FFF2-40B4-BE49-F238E27FC236}">
                <a16:creationId xmlns:a16="http://schemas.microsoft.com/office/drawing/2014/main" id="{1312E975-A85E-CD78-CC34-0E425567F60F}"/>
              </a:ext>
            </a:extLst>
          </p:cNvPr>
          <p:cNvSpPr>
            <a:spLocks noGrp="1"/>
          </p:cNvSpPr>
          <p:nvPr>
            <p:ph type="body" sz="quarter" idx="44"/>
          </p:nvPr>
        </p:nvSpPr>
        <p:spPr>
          <a:xfrm>
            <a:off x="7149557" y="521100"/>
            <a:ext cx="2969488" cy="169277"/>
          </a:xfrm>
        </p:spPr>
        <p:txBody>
          <a:bodyPr/>
          <a:lstStyle/>
          <a:p>
            <a:r>
              <a:rPr lang="en-US" noProof="0"/>
              <a:t>Microsoft 365 Copilot and Copilot Studio</a:t>
            </a:r>
          </a:p>
        </p:txBody>
      </p:sp>
      <p:sp>
        <p:nvSpPr>
          <p:cNvPr id="23" name="Text Placeholder 22">
            <a:extLst>
              <a:ext uri="{FF2B5EF4-FFF2-40B4-BE49-F238E27FC236}">
                <a16:creationId xmlns:a16="http://schemas.microsoft.com/office/drawing/2014/main" id="{7E49F54F-41ED-B418-A1D7-FCA68241661C}"/>
              </a:ext>
            </a:extLst>
          </p:cNvPr>
          <p:cNvSpPr>
            <a:spLocks noGrp="1"/>
          </p:cNvSpPr>
          <p:nvPr>
            <p:ph type="body" sz="quarter" idx="46"/>
          </p:nvPr>
        </p:nvSpPr>
        <p:spPr>
          <a:xfrm>
            <a:off x="3182889" y="2725494"/>
            <a:ext cx="2572262" cy="712876"/>
          </a:xfrm>
        </p:spPr>
        <p:txBody>
          <a:bodyPr/>
          <a:lstStyle/>
          <a:p>
            <a:r>
              <a:rPr lang="en-US"/>
              <a:t>Benefit: </a:t>
            </a:r>
            <a:r>
              <a:rPr lang="en-US">
                <a:latin typeface="+mj-lt"/>
              </a:rPr>
              <a:t>Refine your audience targeting</a:t>
            </a:r>
            <a:r>
              <a:rPr lang="en-US"/>
              <a:t> to ensure that campaign messages are reaching the most receptive groups.</a:t>
            </a:r>
          </a:p>
        </p:txBody>
      </p:sp>
      <p:sp>
        <p:nvSpPr>
          <p:cNvPr id="117" name="Text Placeholder 116">
            <a:extLst>
              <a:ext uri="{FF2B5EF4-FFF2-40B4-BE49-F238E27FC236}">
                <a16:creationId xmlns:a16="http://schemas.microsoft.com/office/drawing/2014/main" id="{890B9E84-C548-4562-B4AA-ECA2AA28BCAC}"/>
              </a:ext>
            </a:extLst>
          </p:cNvPr>
          <p:cNvSpPr>
            <a:spLocks noGrp="1"/>
          </p:cNvSpPr>
          <p:nvPr>
            <p:ph type="body" sz="quarter" idx="47"/>
          </p:nvPr>
        </p:nvSpPr>
        <p:spPr>
          <a:xfrm>
            <a:off x="3182890" y="1112478"/>
            <a:ext cx="2572262" cy="153888"/>
          </a:xfrm>
        </p:spPr>
        <p:txBody>
          <a:bodyPr/>
          <a:lstStyle/>
          <a:p>
            <a:r>
              <a:rPr lang="en-US" noProof="0"/>
              <a:t>Audience segmentation</a:t>
            </a:r>
          </a:p>
        </p:txBody>
      </p:sp>
      <p:sp>
        <p:nvSpPr>
          <p:cNvPr id="118" name="Text Placeholder 117">
            <a:extLst>
              <a:ext uri="{FF2B5EF4-FFF2-40B4-BE49-F238E27FC236}">
                <a16:creationId xmlns:a16="http://schemas.microsoft.com/office/drawing/2014/main" id="{68C3A6CF-2A1B-6435-8198-71B44D5E11B2}"/>
              </a:ext>
            </a:extLst>
          </p:cNvPr>
          <p:cNvSpPr>
            <a:spLocks noGrp="1"/>
          </p:cNvSpPr>
          <p:nvPr>
            <p:ph type="body" sz="quarter" idx="48"/>
          </p:nvPr>
        </p:nvSpPr>
        <p:spPr>
          <a:xfrm>
            <a:off x="3182890" y="1438715"/>
            <a:ext cx="2572262" cy="626701"/>
          </a:xfrm>
        </p:spPr>
        <p:txBody>
          <a:bodyPr/>
          <a:lstStyle/>
          <a:p>
            <a:r>
              <a:rPr lang="en-US" noProof="0"/>
              <a:t>Prompt Copilot to recommend customer segmentation options for consideration based on specific campaign objectives and revenue goals.</a:t>
            </a:r>
          </a:p>
        </p:txBody>
      </p:sp>
      <p:sp>
        <p:nvSpPr>
          <p:cNvPr id="119" name="Text Placeholder 118">
            <a:extLst>
              <a:ext uri="{FF2B5EF4-FFF2-40B4-BE49-F238E27FC236}">
                <a16:creationId xmlns:a16="http://schemas.microsoft.com/office/drawing/2014/main" id="{1C6D5773-9121-BE11-AEB4-96D79BF6C554}"/>
              </a:ext>
            </a:extLst>
          </p:cNvPr>
          <p:cNvSpPr>
            <a:spLocks noGrp="1"/>
          </p:cNvSpPr>
          <p:nvPr>
            <p:ph type="body" sz="quarter" idx="49"/>
          </p:nvPr>
        </p:nvSpPr>
        <p:spPr>
          <a:xfrm>
            <a:off x="6066682" y="1112478"/>
            <a:ext cx="2572262" cy="153888"/>
          </a:xfrm>
        </p:spPr>
        <p:txBody>
          <a:bodyPr/>
          <a:lstStyle/>
          <a:p>
            <a:r>
              <a:rPr lang="en-US" noProof="0"/>
              <a:t>Strategic campaign briefs</a:t>
            </a:r>
          </a:p>
        </p:txBody>
      </p:sp>
      <p:sp>
        <p:nvSpPr>
          <p:cNvPr id="120" name="Text Placeholder 119">
            <a:extLst>
              <a:ext uri="{FF2B5EF4-FFF2-40B4-BE49-F238E27FC236}">
                <a16:creationId xmlns:a16="http://schemas.microsoft.com/office/drawing/2014/main" id="{95604E89-637A-6E84-97E3-4870AC63653A}"/>
              </a:ext>
            </a:extLst>
          </p:cNvPr>
          <p:cNvSpPr>
            <a:spLocks noGrp="1"/>
          </p:cNvSpPr>
          <p:nvPr>
            <p:ph type="body" sz="quarter" idx="50"/>
          </p:nvPr>
        </p:nvSpPr>
        <p:spPr>
          <a:xfrm>
            <a:off x="6066682" y="1438715"/>
            <a:ext cx="2572262" cy="626701"/>
          </a:xfrm>
        </p:spPr>
        <p:txBody>
          <a:bodyPr/>
          <a:lstStyle/>
          <a:p>
            <a:r>
              <a:rPr lang="en-US" noProof="0"/>
              <a:t>Collaborate with your marketing team using Copilot in Teams. It assists in brainstorming campaign ideas, setting goals, and assigning tasks.</a:t>
            </a:r>
          </a:p>
          <a:p>
            <a:endParaRPr lang="en-US" noProof="0"/>
          </a:p>
        </p:txBody>
      </p:sp>
      <p:sp>
        <p:nvSpPr>
          <p:cNvPr id="124" name="Text Placeholder 123">
            <a:extLst>
              <a:ext uri="{FF2B5EF4-FFF2-40B4-BE49-F238E27FC236}">
                <a16:creationId xmlns:a16="http://schemas.microsoft.com/office/drawing/2014/main" id="{D30D1986-18D4-364D-DDAA-0979280FF32F}"/>
              </a:ext>
            </a:extLst>
          </p:cNvPr>
          <p:cNvSpPr>
            <a:spLocks noGrp="1"/>
          </p:cNvSpPr>
          <p:nvPr>
            <p:ph type="body" sz="quarter" idx="67"/>
          </p:nvPr>
        </p:nvSpPr>
        <p:spPr>
          <a:xfrm>
            <a:off x="8950475" y="2725494"/>
            <a:ext cx="2572262" cy="712876"/>
          </a:xfrm>
        </p:spPr>
        <p:txBody>
          <a:bodyPr/>
          <a:lstStyle/>
          <a:p>
            <a:r>
              <a:rPr lang="en-US" noProof="0"/>
              <a:t>Benefit: </a:t>
            </a:r>
            <a:r>
              <a:rPr lang="en-US">
                <a:latin typeface="+mj-lt"/>
              </a:rPr>
              <a:t>Enhance content quality</a:t>
            </a:r>
            <a:r>
              <a:rPr lang="en-US" noProof="0"/>
              <a:t>, save time, and engage your audience effectively.</a:t>
            </a:r>
          </a:p>
        </p:txBody>
      </p:sp>
      <p:sp>
        <p:nvSpPr>
          <p:cNvPr id="122" name="Text Placeholder 121">
            <a:extLst>
              <a:ext uri="{FF2B5EF4-FFF2-40B4-BE49-F238E27FC236}">
                <a16:creationId xmlns:a16="http://schemas.microsoft.com/office/drawing/2014/main" id="{74012F71-7DC2-1E20-CFE5-5E6271B99E1D}"/>
              </a:ext>
            </a:extLst>
          </p:cNvPr>
          <p:cNvSpPr>
            <a:spLocks noGrp="1"/>
          </p:cNvSpPr>
          <p:nvPr>
            <p:ph type="body" sz="quarter" idx="52"/>
          </p:nvPr>
        </p:nvSpPr>
        <p:spPr>
          <a:xfrm>
            <a:off x="8950475" y="1112478"/>
            <a:ext cx="2572262" cy="153888"/>
          </a:xfrm>
        </p:spPr>
        <p:txBody>
          <a:bodyPr/>
          <a:lstStyle/>
          <a:p>
            <a:r>
              <a:rPr lang="en-US" noProof="0"/>
              <a:t>Content creation and refinement</a:t>
            </a:r>
          </a:p>
        </p:txBody>
      </p:sp>
      <p:sp>
        <p:nvSpPr>
          <p:cNvPr id="123" name="Text Placeholder 122">
            <a:extLst>
              <a:ext uri="{FF2B5EF4-FFF2-40B4-BE49-F238E27FC236}">
                <a16:creationId xmlns:a16="http://schemas.microsoft.com/office/drawing/2014/main" id="{C1BAB464-84D5-2A5E-FA2F-C2DA018071A1}"/>
              </a:ext>
            </a:extLst>
          </p:cNvPr>
          <p:cNvSpPr>
            <a:spLocks noGrp="1"/>
          </p:cNvSpPr>
          <p:nvPr>
            <p:ph type="body" sz="quarter" idx="53"/>
          </p:nvPr>
        </p:nvSpPr>
        <p:spPr>
          <a:xfrm>
            <a:off x="8950475" y="1438715"/>
            <a:ext cx="2572262" cy="626701"/>
          </a:xfrm>
        </p:spPr>
        <p:txBody>
          <a:bodyPr/>
          <a:lstStyle/>
          <a:p>
            <a:r>
              <a:rPr lang="en-US" noProof="0"/>
              <a:t>Use Copilot to draft marketing content, such as blog posts, social media updates, and email campaigns. It provides real-time suggestions and helps maintain consistent messaging.</a:t>
            </a:r>
          </a:p>
          <a:p>
            <a:endParaRPr lang="en-US" noProof="0"/>
          </a:p>
        </p:txBody>
      </p:sp>
      <p:sp>
        <p:nvSpPr>
          <p:cNvPr id="121" name="Text Placeholder 120">
            <a:extLst>
              <a:ext uri="{FF2B5EF4-FFF2-40B4-BE49-F238E27FC236}">
                <a16:creationId xmlns:a16="http://schemas.microsoft.com/office/drawing/2014/main" id="{B92964BC-E278-33D0-38CD-BA4F9CF59DA3}"/>
              </a:ext>
            </a:extLst>
          </p:cNvPr>
          <p:cNvSpPr>
            <a:spLocks noGrp="1"/>
          </p:cNvSpPr>
          <p:nvPr>
            <p:ph type="body" sz="quarter" idx="66"/>
          </p:nvPr>
        </p:nvSpPr>
        <p:spPr>
          <a:xfrm>
            <a:off x="6066682" y="2725494"/>
            <a:ext cx="2572262" cy="712876"/>
          </a:xfrm>
        </p:spPr>
        <p:txBody>
          <a:bodyPr/>
          <a:lstStyle/>
          <a:p>
            <a:r>
              <a:rPr lang="en-US" noProof="0"/>
              <a:t>Benefit: </a:t>
            </a:r>
            <a:r>
              <a:rPr lang="en-US">
                <a:latin typeface="+mj-lt"/>
              </a:rPr>
              <a:t>Accelerate campaign planning</a:t>
            </a:r>
            <a:r>
              <a:rPr lang="en-US" noProof="0"/>
              <a:t>, align stakeholders, and ensure a cohesive approach.</a:t>
            </a:r>
          </a:p>
        </p:txBody>
      </p:sp>
      <p:sp>
        <p:nvSpPr>
          <p:cNvPr id="125" name="Text Placeholder 124">
            <a:extLst>
              <a:ext uri="{FF2B5EF4-FFF2-40B4-BE49-F238E27FC236}">
                <a16:creationId xmlns:a16="http://schemas.microsoft.com/office/drawing/2014/main" id="{7453EEEB-33E7-3C70-EE0C-04825E0A22C8}"/>
              </a:ext>
            </a:extLst>
          </p:cNvPr>
          <p:cNvSpPr>
            <a:spLocks noGrp="1"/>
          </p:cNvSpPr>
          <p:nvPr>
            <p:ph type="body" sz="quarter" idx="58"/>
          </p:nvPr>
        </p:nvSpPr>
        <p:spPr>
          <a:xfrm>
            <a:off x="4036409" y="3725103"/>
            <a:ext cx="3161734" cy="153888"/>
          </a:xfrm>
        </p:spPr>
        <p:txBody>
          <a:bodyPr/>
          <a:lstStyle/>
          <a:p>
            <a:r>
              <a:rPr lang="en-US" noProof="0"/>
              <a:t>Collaborative campaign review</a:t>
            </a:r>
          </a:p>
        </p:txBody>
      </p:sp>
      <p:sp>
        <p:nvSpPr>
          <p:cNvPr id="126" name="Text Placeholder 125">
            <a:extLst>
              <a:ext uri="{FF2B5EF4-FFF2-40B4-BE49-F238E27FC236}">
                <a16:creationId xmlns:a16="http://schemas.microsoft.com/office/drawing/2014/main" id="{8A1302EB-2C0B-329E-551E-71743AE9C4AF}"/>
              </a:ext>
            </a:extLst>
          </p:cNvPr>
          <p:cNvSpPr>
            <a:spLocks noGrp="1"/>
          </p:cNvSpPr>
          <p:nvPr>
            <p:ph type="body" sz="quarter" idx="59"/>
          </p:nvPr>
        </p:nvSpPr>
        <p:spPr>
          <a:xfrm>
            <a:off x="4036409" y="4050957"/>
            <a:ext cx="3161734" cy="626701"/>
          </a:xfrm>
        </p:spPr>
        <p:txBody>
          <a:bodyPr/>
          <a:lstStyle/>
          <a:p>
            <a:r>
              <a:rPr lang="en-US" noProof="0"/>
              <a:t>During campaign reviews, Copilot in Teams can assist in summarizing key points, identifying areas for improvement, and suggesting next steps. </a:t>
            </a:r>
          </a:p>
          <a:p>
            <a:endParaRPr lang="en-US" noProof="0"/>
          </a:p>
        </p:txBody>
      </p:sp>
      <p:sp>
        <p:nvSpPr>
          <p:cNvPr id="130" name="Text Placeholder 129">
            <a:extLst>
              <a:ext uri="{FF2B5EF4-FFF2-40B4-BE49-F238E27FC236}">
                <a16:creationId xmlns:a16="http://schemas.microsoft.com/office/drawing/2014/main" id="{DB0BE754-9A05-602D-248B-441E6B7058D0}"/>
              </a:ext>
            </a:extLst>
          </p:cNvPr>
          <p:cNvSpPr>
            <a:spLocks noGrp="1"/>
          </p:cNvSpPr>
          <p:nvPr>
            <p:ph type="body" sz="quarter" idx="69"/>
          </p:nvPr>
        </p:nvSpPr>
        <p:spPr>
          <a:xfrm>
            <a:off x="7507483" y="5338502"/>
            <a:ext cx="3161734" cy="712876"/>
          </a:xfrm>
        </p:spPr>
        <p:txBody>
          <a:bodyPr/>
          <a:lstStyle/>
          <a:p>
            <a:r>
              <a:rPr lang="en-US" noProof="0"/>
              <a:t>Benefit: </a:t>
            </a:r>
            <a:r>
              <a:rPr lang="en-US">
                <a:latin typeface="+mj-lt"/>
              </a:rPr>
              <a:t>Optimize campaigns</a:t>
            </a:r>
            <a:r>
              <a:rPr lang="en-US" noProof="0"/>
              <a:t> based on data-driven insights, leading to better ROI.</a:t>
            </a:r>
          </a:p>
        </p:txBody>
      </p:sp>
      <p:sp>
        <p:nvSpPr>
          <p:cNvPr id="128" name="Text Placeholder 127">
            <a:extLst>
              <a:ext uri="{FF2B5EF4-FFF2-40B4-BE49-F238E27FC236}">
                <a16:creationId xmlns:a16="http://schemas.microsoft.com/office/drawing/2014/main" id="{38F80769-C1E8-D9DF-3837-E73D9AAEAC26}"/>
              </a:ext>
            </a:extLst>
          </p:cNvPr>
          <p:cNvSpPr>
            <a:spLocks noGrp="1"/>
          </p:cNvSpPr>
          <p:nvPr>
            <p:ph type="body" sz="quarter" idx="61"/>
          </p:nvPr>
        </p:nvSpPr>
        <p:spPr>
          <a:xfrm>
            <a:off x="7507483" y="3725103"/>
            <a:ext cx="3161734" cy="153888"/>
          </a:xfrm>
        </p:spPr>
        <p:txBody>
          <a:bodyPr/>
          <a:lstStyle/>
          <a:p>
            <a:r>
              <a:rPr lang="en-US" noProof="0"/>
              <a:t>Data-driven insights</a:t>
            </a:r>
          </a:p>
        </p:txBody>
      </p:sp>
      <p:sp>
        <p:nvSpPr>
          <p:cNvPr id="129" name="Text Placeholder 128">
            <a:extLst>
              <a:ext uri="{FF2B5EF4-FFF2-40B4-BE49-F238E27FC236}">
                <a16:creationId xmlns:a16="http://schemas.microsoft.com/office/drawing/2014/main" id="{E9E1C1BC-FAD5-DFF4-1E75-DF8BCE4F2767}"/>
              </a:ext>
            </a:extLst>
          </p:cNvPr>
          <p:cNvSpPr>
            <a:spLocks noGrp="1"/>
          </p:cNvSpPr>
          <p:nvPr>
            <p:ph type="body" sz="quarter" idx="62"/>
          </p:nvPr>
        </p:nvSpPr>
        <p:spPr>
          <a:xfrm>
            <a:off x="7507483" y="4050957"/>
            <a:ext cx="3161734" cy="626701"/>
          </a:xfrm>
        </p:spPr>
        <p:txBody>
          <a:bodyPr/>
          <a:lstStyle/>
          <a:p>
            <a:r>
              <a:rPr lang="en-US" noProof="0"/>
              <a:t>Use Copilot Studio to build a custom agent based on your sales database. Ask questions such as ‘What was the ROI on this campaign?’ to help inform campaign optimization.</a:t>
            </a:r>
          </a:p>
          <a:p>
            <a:endParaRPr lang="en-US" noProof="0"/>
          </a:p>
        </p:txBody>
      </p:sp>
      <p:sp>
        <p:nvSpPr>
          <p:cNvPr id="127" name="Text Placeholder 126">
            <a:extLst>
              <a:ext uri="{FF2B5EF4-FFF2-40B4-BE49-F238E27FC236}">
                <a16:creationId xmlns:a16="http://schemas.microsoft.com/office/drawing/2014/main" id="{0AA0F489-EB67-630D-C547-8577A25ABB0A}"/>
              </a:ext>
            </a:extLst>
          </p:cNvPr>
          <p:cNvSpPr>
            <a:spLocks noGrp="1"/>
          </p:cNvSpPr>
          <p:nvPr>
            <p:ph type="body" sz="quarter" idx="68"/>
          </p:nvPr>
        </p:nvSpPr>
        <p:spPr>
          <a:xfrm>
            <a:off x="4036409" y="5338502"/>
            <a:ext cx="3161734" cy="712876"/>
          </a:xfrm>
        </p:spPr>
        <p:txBody>
          <a:bodyPr/>
          <a:lstStyle/>
          <a:p>
            <a:r>
              <a:rPr lang="en-US" noProof="0"/>
              <a:t>Benefit: </a:t>
            </a:r>
            <a:r>
              <a:rPr lang="en-US">
                <a:latin typeface="+mj-lt"/>
              </a:rPr>
              <a:t>Facilitate efficient discussions</a:t>
            </a:r>
            <a:r>
              <a:rPr lang="en-US" noProof="0"/>
              <a:t>, align stakeholders, and drive campaign success. </a:t>
            </a:r>
          </a:p>
        </p:txBody>
      </p:sp>
      <p:sp>
        <p:nvSpPr>
          <p:cNvPr id="131" name="Text Placeholder 130">
            <a:extLst>
              <a:ext uri="{FF2B5EF4-FFF2-40B4-BE49-F238E27FC236}">
                <a16:creationId xmlns:a16="http://schemas.microsoft.com/office/drawing/2014/main" id="{BB8FD2CC-F35F-3276-BDB0-2BDDFA754ABB}"/>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32" name="Text Placeholder 131">
            <a:extLst>
              <a:ext uri="{FF2B5EF4-FFF2-40B4-BE49-F238E27FC236}">
                <a16:creationId xmlns:a16="http://schemas.microsoft.com/office/drawing/2014/main" id="{DE9974E7-D756-715F-A1BD-0BD078DC7EF5}"/>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90" name="Text Placeholder 89">
            <a:extLst>
              <a:ext uri="{FF2B5EF4-FFF2-40B4-BE49-F238E27FC236}">
                <a16:creationId xmlns:a16="http://schemas.microsoft.com/office/drawing/2014/main" id="{BAEE9366-61CB-B9DA-B5C4-D9033F56919C}"/>
              </a:ext>
            </a:extLst>
          </p:cNvPr>
          <p:cNvSpPr>
            <a:spLocks noGrp="1"/>
          </p:cNvSpPr>
          <p:nvPr>
            <p:ph type="body" sz="quarter" idx="33"/>
          </p:nvPr>
        </p:nvSpPr>
        <p:spPr>
          <a:xfrm>
            <a:off x="304796" y="413987"/>
            <a:ext cx="1941119" cy="307777"/>
          </a:xfrm>
        </p:spPr>
        <p:txBody>
          <a:bodyPr/>
          <a:lstStyle/>
          <a:p>
            <a:r>
              <a:rPr lang="en-US"/>
              <a:t>Retail</a:t>
            </a:r>
          </a:p>
        </p:txBody>
      </p:sp>
      <p:sp>
        <p:nvSpPr>
          <p:cNvPr id="89" name="Title 88">
            <a:extLst>
              <a:ext uri="{FF2B5EF4-FFF2-40B4-BE49-F238E27FC236}">
                <a16:creationId xmlns:a16="http://schemas.microsoft.com/office/drawing/2014/main" id="{1F23E024-5434-4B79-83F0-3307A9BBB85C}"/>
              </a:ext>
            </a:extLst>
          </p:cNvPr>
          <p:cNvSpPr>
            <a:spLocks noGrp="1"/>
          </p:cNvSpPr>
          <p:nvPr>
            <p:ph type="title"/>
          </p:nvPr>
        </p:nvSpPr>
        <p:spPr>
          <a:xfrm>
            <a:off x="2492556" y="429376"/>
            <a:ext cx="4144817" cy="276999"/>
          </a:xfrm>
        </p:spPr>
        <p:txBody>
          <a:bodyPr/>
          <a:lstStyle/>
          <a:p>
            <a:r>
              <a:rPr lang="en-US" noProof="0"/>
              <a:t>Craft targeted marketing campaigns</a:t>
            </a:r>
          </a:p>
        </p:txBody>
      </p:sp>
      <p:grpSp>
        <p:nvGrpSpPr>
          <p:cNvPr id="155" name="Group 154">
            <a:extLst>
              <a:ext uri="{FF2B5EF4-FFF2-40B4-BE49-F238E27FC236}">
                <a16:creationId xmlns:a16="http://schemas.microsoft.com/office/drawing/2014/main" id="{4573061F-E75E-A207-BD65-A135E7DC5612}"/>
              </a:ext>
            </a:extLst>
          </p:cNvPr>
          <p:cNvGrpSpPr/>
          <p:nvPr/>
        </p:nvGrpSpPr>
        <p:grpSpPr>
          <a:xfrm>
            <a:off x="320719" y="5020658"/>
            <a:ext cx="1771605" cy="216000"/>
            <a:chOff x="320719" y="4224856"/>
            <a:chExt cx="1771605" cy="219456"/>
          </a:xfrm>
        </p:grpSpPr>
        <p:sp>
          <p:nvSpPr>
            <p:cNvPr id="156" name="Rectangle: Rounded Corners 6">
              <a:extLst>
                <a:ext uri="{FF2B5EF4-FFF2-40B4-BE49-F238E27FC236}">
                  <a16:creationId xmlns:a16="http://schemas.microsoft.com/office/drawing/2014/main" id="{E07D22CA-2522-B707-DEBB-5D145D75FCA1}"/>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57" name="Graphic 156">
              <a:extLst>
                <a:ext uri="{FF2B5EF4-FFF2-40B4-BE49-F238E27FC236}">
                  <a16:creationId xmlns:a16="http://schemas.microsoft.com/office/drawing/2014/main" id="{3B32E224-4B2C-F2E4-1043-CBB1B61014B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7506" y="4260849"/>
              <a:ext cx="144000" cy="144000"/>
            </a:xfrm>
            <a:prstGeom prst="rect">
              <a:avLst/>
            </a:prstGeom>
          </p:spPr>
        </p:pic>
      </p:grpSp>
      <p:grpSp>
        <p:nvGrpSpPr>
          <p:cNvPr id="158" name="Group 157">
            <a:extLst>
              <a:ext uri="{FF2B5EF4-FFF2-40B4-BE49-F238E27FC236}">
                <a16:creationId xmlns:a16="http://schemas.microsoft.com/office/drawing/2014/main" id="{A6D09D1A-B5E5-6109-AD57-4714A66BC490}"/>
              </a:ext>
            </a:extLst>
          </p:cNvPr>
          <p:cNvGrpSpPr/>
          <p:nvPr/>
        </p:nvGrpSpPr>
        <p:grpSpPr>
          <a:xfrm>
            <a:off x="320721" y="5309272"/>
            <a:ext cx="1771605" cy="216000"/>
            <a:chOff x="320721" y="4517211"/>
            <a:chExt cx="1771605" cy="216000"/>
          </a:xfrm>
        </p:grpSpPr>
        <p:sp>
          <p:nvSpPr>
            <p:cNvPr id="159" name="Rectangle: Rounded Corners 6">
              <a:extLst>
                <a:ext uri="{FF2B5EF4-FFF2-40B4-BE49-F238E27FC236}">
                  <a16:creationId xmlns:a16="http://schemas.microsoft.com/office/drawing/2014/main" id="{68703CB9-C463-BCBE-4316-F9E24C74373A}"/>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60" name="Graphic 159">
              <a:extLst>
                <a:ext uri="{FF2B5EF4-FFF2-40B4-BE49-F238E27FC236}">
                  <a16:creationId xmlns:a16="http://schemas.microsoft.com/office/drawing/2014/main" id="{C0C794F4-2D13-7FB1-0D1D-A5B213CDC6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7507" y="4552645"/>
              <a:ext cx="144000" cy="141732"/>
            </a:xfrm>
            <a:prstGeom prst="rect">
              <a:avLst/>
            </a:prstGeom>
          </p:spPr>
        </p:pic>
      </p:grpSp>
      <p:grpSp>
        <p:nvGrpSpPr>
          <p:cNvPr id="161" name="Group 160">
            <a:extLst>
              <a:ext uri="{FF2B5EF4-FFF2-40B4-BE49-F238E27FC236}">
                <a16:creationId xmlns:a16="http://schemas.microsoft.com/office/drawing/2014/main" id="{BE81F24F-7153-3D2A-D9A9-0B158D32C276}"/>
              </a:ext>
            </a:extLst>
          </p:cNvPr>
          <p:cNvGrpSpPr/>
          <p:nvPr/>
        </p:nvGrpSpPr>
        <p:grpSpPr>
          <a:xfrm>
            <a:off x="320719" y="3778836"/>
            <a:ext cx="1771605" cy="216000"/>
            <a:chOff x="320719" y="4224856"/>
            <a:chExt cx="1771605" cy="219456"/>
          </a:xfrm>
        </p:grpSpPr>
        <p:sp>
          <p:nvSpPr>
            <p:cNvPr id="162" name="Rectangle: Rounded Corners 6">
              <a:extLst>
                <a:ext uri="{FF2B5EF4-FFF2-40B4-BE49-F238E27FC236}">
                  <a16:creationId xmlns:a16="http://schemas.microsoft.com/office/drawing/2014/main" id="{57309446-DA9F-D77B-640A-53E455EB705C}"/>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163" name="Graphic 162">
              <a:extLst>
                <a:ext uri="{FF2B5EF4-FFF2-40B4-BE49-F238E27FC236}">
                  <a16:creationId xmlns:a16="http://schemas.microsoft.com/office/drawing/2014/main" id="{11DDF905-66F6-7B9C-A986-1BAD879978BA}"/>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4260849"/>
              <a:ext cx="144000" cy="144000"/>
            </a:xfrm>
            <a:prstGeom prst="rect">
              <a:avLst/>
            </a:prstGeom>
          </p:spPr>
        </p:pic>
      </p:grpSp>
      <p:grpSp>
        <p:nvGrpSpPr>
          <p:cNvPr id="164" name="Group 163">
            <a:extLst>
              <a:ext uri="{FF2B5EF4-FFF2-40B4-BE49-F238E27FC236}">
                <a16:creationId xmlns:a16="http://schemas.microsoft.com/office/drawing/2014/main" id="{E20C820F-3811-A917-50F9-918E37C4F49E}"/>
              </a:ext>
            </a:extLst>
          </p:cNvPr>
          <p:cNvGrpSpPr/>
          <p:nvPr/>
        </p:nvGrpSpPr>
        <p:grpSpPr>
          <a:xfrm>
            <a:off x="320721" y="4067450"/>
            <a:ext cx="1771605" cy="216000"/>
            <a:chOff x="320721" y="4517211"/>
            <a:chExt cx="1771605" cy="216000"/>
          </a:xfrm>
        </p:grpSpPr>
        <p:sp>
          <p:nvSpPr>
            <p:cNvPr id="165" name="Rectangle: Rounded Corners 6">
              <a:extLst>
                <a:ext uri="{FF2B5EF4-FFF2-40B4-BE49-F238E27FC236}">
                  <a16:creationId xmlns:a16="http://schemas.microsoft.com/office/drawing/2014/main" id="{091E9725-650F-0B4B-CA8E-D689CD5B40FB}"/>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Marketing spend</a:t>
              </a:r>
            </a:p>
          </p:txBody>
        </p:sp>
        <p:pic>
          <p:nvPicPr>
            <p:cNvPr id="166" name="Graphic 165">
              <a:extLst>
                <a:ext uri="{FF2B5EF4-FFF2-40B4-BE49-F238E27FC236}">
                  <a16:creationId xmlns:a16="http://schemas.microsoft.com/office/drawing/2014/main" id="{FE08E3A6-C8D2-CC2E-D6DD-99DD91A1013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7507" y="4552645"/>
              <a:ext cx="144000" cy="141732"/>
            </a:xfrm>
            <a:prstGeom prst="rect">
              <a:avLst/>
            </a:prstGeom>
          </p:spPr>
        </p:pic>
      </p:grpSp>
      <p:grpSp>
        <p:nvGrpSpPr>
          <p:cNvPr id="167" name="Group 166">
            <a:extLst>
              <a:ext uri="{FF2B5EF4-FFF2-40B4-BE49-F238E27FC236}">
                <a16:creationId xmlns:a16="http://schemas.microsoft.com/office/drawing/2014/main" id="{4CE4F299-925E-1430-7222-CCA1C8565275}"/>
              </a:ext>
            </a:extLst>
          </p:cNvPr>
          <p:cNvGrpSpPr/>
          <p:nvPr/>
        </p:nvGrpSpPr>
        <p:grpSpPr>
          <a:xfrm>
            <a:off x="320719" y="4356602"/>
            <a:ext cx="1771605" cy="216000"/>
            <a:chOff x="320719" y="4224856"/>
            <a:chExt cx="1771605" cy="219456"/>
          </a:xfrm>
        </p:grpSpPr>
        <p:sp>
          <p:nvSpPr>
            <p:cNvPr id="168" name="Rectangle: Rounded Corners 6">
              <a:extLst>
                <a:ext uri="{FF2B5EF4-FFF2-40B4-BE49-F238E27FC236}">
                  <a16:creationId xmlns:a16="http://schemas.microsoft.com/office/drawing/2014/main" id="{21BC6334-F636-9F7D-D066-77DB86BEC3A5}"/>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onversion rate</a:t>
              </a:r>
            </a:p>
          </p:txBody>
        </p:sp>
        <p:pic>
          <p:nvPicPr>
            <p:cNvPr id="169" name="Graphic 168">
              <a:extLst>
                <a:ext uri="{FF2B5EF4-FFF2-40B4-BE49-F238E27FC236}">
                  <a16:creationId xmlns:a16="http://schemas.microsoft.com/office/drawing/2014/main" id="{4A851F88-5C82-A6C9-A9F1-4EBBE13FBC64}"/>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4260849"/>
              <a:ext cx="144000" cy="144000"/>
            </a:xfrm>
            <a:prstGeom prst="rect">
              <a:avLst/>
            </a:prstGeom>
          </p:spPr>
        </p:pic>
      </p:grpSp>
      <p:pic>
        <p:nvPicPr>
          <p:cNvPr id="175" name="Picture 6" descr="Microsoft Teams Logo, symbol, meaning, history, PNG, brand">
            <a:extLst>
              <a:ext uri="{FF2B5EF4-FFF2-40B4-BE49-F238E27FC236}">
                <a16:creationId xmlns:a16="http://schemas.microsoft.com/office/drawing/2014/main" id="{12D1DDF3-43BB-55F8-EF11-01DFC899BB3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9049" r="19049"/>
          <a:stretch/>
        </p:blipFill>
        <p:spPr bwMode="auto">
          <a:xfrm>
            <a:off x="6067425" y="2216566"/>
            <a:ext cx="245612" cy="223322"/>
          </a:xfrm>
          <a:prstGeom prst="rect">
            <a:avLst/>
          </a:prstGeom>
          <a:noFill/>
          <a:extLst>
            <a:ext uri="{909E8E84-426E-40DD-AFC4-6F175D3DCCD1}">
              <a14:hiddenFill xmlns:a14="http://schemas.microsoft.com/office/drawing/2010/main">
                <a:solidFill>
                  <a:srgbClr val="FFFFFF"/>
                </a:solidFill>
              </a14:hiddenFill>
            </a:ext>
          </a:extLst>
        </p:spPr>
      </p:pic>
      <p:sp>
        <p:nvSpPr>
          <p:cNvPr id="177" name="TextBox 176">
            <a:extLst>
              <a:ext uri="{FF2B5EF4-FFF2-40B4-BE49-F238E27FC236}">
                <a16:creationId xmlns:a16="http://schemas.microsoft.com/office/drawing/2014/main" id="{4D0152E5-59FC-7129-8705-09BC74A55FF3}"/>
              </a:ext>
              <a:ext uri="{C183D7F6-B498-43B3-948B-1728B52AA6E4}">
                <adec:decorative xmlns:adec="http://schemas.microsoft.com/office/drawing/2017/decorative" val="0"/>
              </a:ext>
            </a:extLst>
          </p:cNvPr>
          <p:cNvSpPr txBox="1"/>
          <p:nvPr/>
        </p:nvSpPr>
        <p:spPr>
          <a:xfrm>
            <a:off x="4417233" y="4884469"/>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pic>
        <p:nvPicPr>
          <p:cNvPr id="178" name="Picture 6" descr="Microsoft Teams Logo, symbol, meaning, history, PNG, brand">
            <a:extLst>
              <a:ext uri="{FF2B5EF4-FFF2-40B4-BE49-F238E27FC236}">
                <a16:creationId xmlns:a16="http://schemas.microsoft.com/office/drawing/2014/main" id="{F8F014F2-92A3-421F-63F7-32C50CC72CA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9049" r="19049"/>
          <a:stretch/>
        </p:blipFill>
        <p:spPr bwMode="auto">
          <a:xfrm>
            <a:off x="4037013" y="4849752"/>
            <a:ext cx="245612" cy="223322"/>
          </a:xfrm>
          <a:prstGeom prst="rect">
            <a:avLst/>
          </a:prstGeom>
          <a:noFill/>
          <a:extLst>
            <a:ext uri="{909E8E84-426E-40DD-AFC4-6F175D3DCCD1}">
              <a14:hiddenFill xmlns:a14="http://schemas.microsoft.com/office/drawing/2010/main">
                <a:solidFill>
                  <a:srgbClr val="FFFFFF"/>
                </a:solidFill>
              </a14:hiddenFill>
            </a:ext>
          </a:extLst>
        </p:spPr>
      </p:pic>
      <p:sp>
        <p:nvSpPr>
          <p:cNvPr id="184" name="TextBox 183">
            <a:extLst>
              <a:ext uri="{FF2B5EF4-FFF2-40B4-BE49-F238E27FC236}">
                <a16:creationId xmlns:a16="http://schemas.microsoft.com/office/drawing/2014/main" id="{0ECE443B-D77D-88AC-23BE-595AB994197E}"/>
              </a:ext>
              <a:ext uri="{C183D7F6-B498-43B3-948B-1728B52AA6E4}">
                <adec:decorative xmlns:adec="http://schemas.microsoft.com/office/drawing/2017/decorative" val="0"/>
              </a:ext>
            </a:extLst>
          </p:cNvPr>
          <p:cNvSpPr txBox="1"/>
          <p:nvPr/>
        </p:nvSpPr>
        <p:spPr>
          <a:xfrm>
            <a:off x="9327307" y="2063750"/>
            <a:ext cx="1830524" cy="5289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85" name="Picture 50">
            <a:hlinkClick r:id="rId8"/>
            <a:extLst>
              <a:ext uri="{FF2B5EF4-FFF2-40B4-BE49-F238E27FC236}">
                <a16:creationId xmlns:a16="http://schemas.microsoft.com/office/drawing/2014/main" id="{1A0F322E-AD7F-8CB5-E038-49F14219E70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50325"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187" name="TextBox 186">
            <a:extLst>
              <a:ext uri="{FF2B5EF4-FFF2-40B4-BE49-F238E27FC236}">
                <a16:creationId xmlns:a16="http://schemas.microsoft.com/office/drawing/2014/main" id="{F473C0B5-74BF-B30E-D52B-5D5E12EF8BB9}"/>
              </a:ext>
              <a:ext uri="{C183D7F6-B498-43B3-948B-1728B52AA6E4}">
                <adec:decorative xmlns:adec="http://schemas.microsoft.com/office/drawing/2017/decorative" val="0"/>
              </a:ext>
            </a:extLst>
          </p:cNvPr>
          <p:cNvSpPr txBox="1"/>
          <p:nvPr/>
        </p:nvSpPr>
        <p:spPr>
          <a:xfrm>
            <a:off x="3559920" y="2063750"/>
            <a:ext cx="1830524" cy="5289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88" name="Picture 50">
            <a:hlinkClick r:id="rId8"/>
            <a:extLst>
              <a:ext uri="{FF2B5EF4-FFF2-40B4-BE49-F238E27FC236}">
                <a16:creationId xmlns:a16="http://schemas.microsoft.com/office/drawing/2014/main" id="{C47C3593-BF3A-78EA-2CB0-2543D5705DF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82938"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7B405E90-E04B-D1B5-97FD-0A818740C04D}"/>
              </a:ext>
              <a:ext uri="{C183D7F6-B498-43B3-948B-1728B52AA6E4}">
                <adec:decorative xmlns:adec="http://schemas.microsoft.com/office/drawing/2017/decorative" val="0"/>
              </a:ext>
            </a:extLst>
          </p:cNvPr>
          <p:cNvSpPr txBox="1"/>
          <p:nvPr/>
        </p:nvSpPr>
        <p:spPr>
          <a:xfrm>
            <a:off x="6447645" y="2063750"/>
            <a:ext cx="1830524" cy="5289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sp>
        <p:nvSpPr>
          <p:cNvPr id="180" name="TextBox 179">
            <a:extLst>
              <a:ext uri="{FF2B5EF4-FFF2-40B4-BE49-F238E27FC236}">
                <a16:creationId xmlns:a16="http://schemas.microsoft.com/office/drawing/2014/main" id="{6AC2824E-27ED-CC86-2202-36B0BA0C4BC9}"/>
              </a:ext>
              <a:ext uri="{C183D7F6-B498-43B3-948B-1728B52AA6E4}">
                <adec:decorative xmlns:adec="http://schemas.microsoft.com/office/drawing/2017/decorative" val="0"/>
              </a:ext>
            </a:extLst>
          </p:cNvPr>
          <p:cNvSpPr txBox="1"/>
          <p:nvPr/>
        </p:nvSpPr>
        <p:spPr>
          <a:xfrm>
            <a:off x="7866234" y="4876757"/>
            <a:ext cx="2440760" cy="142894"/>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Retail ERP system</a:t>
            </a:r>
          </a:p>
        </p:txBody>
      </p:sp>
      <p:pic>
        <p:nvPicPr>
          <p:cNvPr id="50" name="Picture 49">
            <a:extLst>
              <a:ext uri="{FF2B5EF4-FFF2-40B4-BE49-F238E27FC236}">
                <a16:creationId xmlns:a16="http://schemas.microsoft.com/office/drawing/2014/main" id="{5ACD8FFF-FC27-E790-641E-1EB0BDD19CF1}"/>
              </a:ext>
              <a:ext uri="{C183D7F6-B498-43B3-948B-1728B52AA6E4}">
                <adec:decorative xmlns:adec="http://schemas.microsoft.com/office/drawing/2017/decorative" val="0"/>
              </a:ext>
            </a:extLst>
          </p:cNvPr>
          <p:cNvPicPr>
            <a:picLocks noChangeAspect="1"/>
          </p:cNvPicPr>
          <p:nvPr/>
        </p:nvPicPr>
        <p:blipFill rotWithShape="1">
          <a:blip r:embed="rId10"/>
          <a:srcRect b="3736"/>
          <a:stretch/>
        </p:blipFill>
        <p:spPr>
          <a:xfrm>
            <a:off x="7507288" y="4840226"/>
            <a:ext cx="224338" cy="215956"/>
          </a:xfrm>
          <a:prstGeom prst="rect">
            <a:avLst/>
          </a:prstGeom>
          <a:ln w="6657" cap="flat">
            <a:noFill/>
            <a:prstDash val="solid"/>
            <a:miter/>
          </a:ln>
          <a:effectLst/>
        </p:spPr>
      </p:pic>
    </p:spTree>
    <p:extLst>
      <p:ext uri="{BB962C8B-B14F-4D97-AF65-F5344CB8AC3E}">
        <p14:creationId xmlns:p14="http://schemas.microsoft.com/office/powerpoint/2010/main" val="179235974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719496-4844-4115-38F0-B22A93C9D069}"/>
            </a:ext>
          </a:extLst>
        </p:cNvPr>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1C6AAB1A-F6CD-5885-31B9-C286BCCCA0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21" name="think-cell data - do not delete" hidden="1">
                        <a:extLst>
                          <a:ext uri="{FF2B5EF4-FFF2-40B4-BE49-F238E27FC236}">
                            <a16:creationId xmlns:a16="http://schemas.microsoft.com/office/drawing/2014/main" id="{1C6AAB1A-F6CD-5885-31B9-C286BCCCA0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Text Placeholder 22">
            <a:extLst>
              <a:ext uri="{FF2B5EF4-FFF2-40B4-BE49-F238E27FC236}">
                <a16:creationId xmlns:a16="http://schemas.microsoft.com/office/drawing/2014/main" id="{065515C2-35F4-1EA4-7484-98E1D0F18720}"/>
              </a:ext>
            </a:extLst>
          </p:cNvPr>
          <p:cNvSpPr>
            <a:spLocks noGrp="1"/>
          </p:cNvSpPr>
          <p:nvPr>
            <p:ph type="body" sz="quarter" idx="42"/>
          </p:nvPr>
        </p:nvSpPr>
        <p:spPr>
          <a:xfrm>
            <a:off x="311388" y="1026303"/>
            <a:ext cx="2431246" cy="1131079"/>
          </a:xfrm>
        </p:spPr>
        <p:txBody>
          <a:bodyPr/>
          <a:lstStyle/>
          <a:p>
            <a:r>
              <a:rPr lang="en-US" noProof="0" dirty="0"/>
              <a:t>AI agents can help to simplify the process of importing good to minimize Customs delays.</a:t>
            </a:r>
          </a:p>
        </p:txBody>
      </p:sp>
      <p:sp>
        <p:nvSpPr>
          <p:cNvPr id="106" name="Text Placeholder 105">
            <a:extLst>
              <a:ext uri="{FF2B5EF4-FFF2-40B4-BE49-F238E27FC236}">
                <a16:creationId xmlns:a16="http://schemas.microsoft.com/office/drawing/2014/main" id="{AAB95708-AB98-301B-D30D-95FF2AD9ED8E}"/>
              </a:ext>
            </a:extLst>
          </p:cNvPr>
          <p:cNvSpPr>
            <a:spLocks noGrp="1"/>
          </p:cNvSpPr>
          <p:nvPr>
            <p:ph type="body" sz="quarter" idx="43"/>
          </p:nvPr>
        </p:nvSpPr>
        <p:spPr>
          <a:xfrm>
            <a:off x="10430351" y="521099"/>
            <a:ext cx="1456966" cy="175614"/>
          </a:xfrm>
        </p:spPr>
        <p:txBody>
          <a:bodyPr/>
          <a:lstStyle/>
          <a:p>
            <a:r>
              <a:rPr lang="en-US" noProof="0"/>
              <a:t>Build</a:t>
            </a:r>
          </a:p>
        </p:txBody>
      </p:sp>
      <p:sp>
        <p:nvSpPr>
          <p:cNvPr id="107" name="Text Placeholder 106">
            <a:extLst>
              <a:ext uri="{FF2B5EF4-FFF2-40B4-BE49-F238E27FC236}">
                <a16:creationId xmlns:a16="http://schemas.microsoft.com/office/drawing/2014/main" id="{0AD060BD-7E85-0208-45A4-4EDD9DA6E045}"/>
              </a:ext>
            </a:extLst>
          </p:cNvPr>
          <p:cNvSpPr>
            <a:spLocks noGrp="1"/>
          </p:cNvSpPr>
          <p:nvPr>
            <p:ph type="body" sz="quarter" idx="44"/>
          </p:nvPr>
        </p:nvSpPr>
        <p:spPr>
          <a:xfrm>
            <a:off x="7149557" y="521100"/>
            <a:ext cx="2969488" cy="169277"/>
          </a:xfrm>
        </p:spPr>
        <p:txBody>
          <a:bodyPr/>
          <a:lstStyle/>
          <a:p>
            <a:r>
              <a:rPr lang="en-US" noProof="0"/>
              <a:t>Microsoft 365 Copilot and Copilot Studio</a:t>
            </a:r>
          </a:p>
        </p:txBody>
      </p:sp>
      <p:sp>
        <p:nvSpPr>
          <p:cNvPr id="24" name="Text Placeholder 23">
            <a:extLst>
              <a:ext uri="{FF2B5EF4-FFF2-40B4-BE49-F238E27FC236}">
                <a16:creationId xmlns:a16="http://schemas.microsoft.com/office/drawing/2014/main" id="{C2F3BC91-0612-8AAB-16B1-DA6D900CA4E3}"/>
              </a:ext>
            </a:extLst>
          </p:cNvPr>
          <p:cNvSpPr>
            <a:spLocks noGrp="1"/>
          </p:cNvSpPr>
          <p:nvPr>
            <p:ph type="body" sz="quarter" idx="46"/>
          </p:nvPr>
        </p:nvSpPr>
        <p:spPr>
          <a:xfrm>
            <a:off x="3182889" y="2725494"/>
            <a:ext cx="2572262" cy="712876"/>
          </a:xfrm>
        </p:spPr>
        <p:txBody>
          <a:bodyPr/>
          <a:lstStyle/>
          <a:p>
            <a:r>
              <a:rPr lang="en-US" noProof="0"/>
              <a:t>Prompt: What is the shipping destination and ordered item numbers for order number 12345? </a:t>
            </a:r>
          </a:p>
        </p:txBody>
      </p:sp>
      <p:sp>
        <p:nvSpPr>
          <p:cNvPr id="109" name="Text Placeholder 108">
            <a:extLst>
              <a:ext uri="{FF2B5EF4-FFF2-40B4-BE49-F238E27FC236}">
                <a16:creationId xmlns:a16="http://schemas.microsoft.com/office/drawing/2014/main" id="{1374363D-4105-894E-C38C-B918A46699F8}"/>
              </a:ext>
            </a:extLst>
          </p:cNvPr>
          <p:cNvSpPr>
            <a:spLocks noGrp="1"/>
          </p:cNvSpPr>
          <p:nvPr>
            <p:ph type="body" sz="quarter" idx="47"/>
          </p:nvPr>
        </p:nvSpPr>
        <p:spPr>
          <a:xfrm>
            <a:off x="3182890" y="1112478"/>
            <a:ext cx="2572262" cy="153888"/>
          </a:xfrm>
        </p:spPr>
        <p:txBody>
          <a:bodyPr/>
          <a:lstStyle/>
          <a:p>
            <a:r>
              <a:rPr lang="en-US" noProof="0"/>
              <a:t>Determine order source/destination</a:t>
            </a:r>
          </a:p>
        </p:txBody>
      </p:sp>
      <p:sp>
        <p:nvSpPr>
          <p:cNvPr id="110" name="Text Placeholder 109">
            <a:extLst>
              <a:ext uri="{FF2B5EF4-FFF2-40B4-BE49-F238E27FC236}">
                <a16:creationId xmlns:a16="http://schemas.microsoft.com/office/drawing/2014/main" id="{CBFE477B-23D5-A9F8-BBAE-E03B559C3BC0}"/>
              </a:ext>
            </a:extLst>
          </p:cNvPr>
          <p:cNvSpPr>
            <a:spLocks noGrp="1"/>
          </p:cNvSpPr>
          <p:nvPr>
            <p:ph type="body" sz="quarter" idx="48"/>
          </p:nvPr>
        </p:nvSpPr>
        <p:spPr>
          <a:xfrm>
            <a:off x="3182890" y="1438715"/>
            <a:ext cx="2572262" cy="626701"/>
          </a:xfrm>
        </p:spPr>
        <p:txBody>
          <a:bodyPr/>
          <a:lstStyle/>
          <a:p>
            <a:r>
              <a:rPr lang="en-US" noProof="0"/>
              <a:t>Prompt Copilot to look up the order and retrieve the product detail and shipping destination.</a:t>
            </a:r>
          </a:p>
          <a:p>
            <a:endParaRPr lang="en-US" noProof="0"/>
          </a:p>
        </p:txBody>
      </p:sp>
      <p:sp>
        <p:nvSpPr>
          <p:cNvPr id="111" name="Text Placeholder 110">
            <a:extLst>
              <a:ext uri="{FF2B5EF4-FFF2-40B4-BE49-F238E27FC236}">
                <a16:creationId xmlns:a16="http://schemas.microsoft.com/office/drawing/2014/main" id="{4AA9C4CA-2ABC-4BCF-A1A7-8797D6933486}"/>
              </a:ext>
            </a:extLst>
          </p:cNvPr>
          <p:cNvSpPr>
            <a:spLocks noGrp="1"/>
          </p:cNvSpPr>
          <p:nvPr>
            <p:ph type="body" sz="quarter" idx="49"/>
          </p:nvPr>
        </p:nvSpPr>
        <p:spPr>
          <a:xfrm>
            <a:off x="6066682" y="1112478"/>
            <a:ext cx="2572262" cy="153888"/>
          </a:xfrm>
        </p:spPr>
        <p:txBody>
          <a:bodyPr/>
          <a:lstStyle/>
          <a:p>
            <a:r>
              <a:rPr lang="en-US" noProof="0"/>
              <a:t>Confirm regulatory requirements</a:t>
            </a:r>
          </a:p>
        </p:txBody>
      </p:sp>
      <p:sp>
        <p:nvSpPr>
          <p:cNvPr id="112" name="Text Placeholder 111">
            <a:extLst>
              <a:ext uri="{FF2B5EF4-FFF2-40B4-BE49-F238E27FC236}">
                <a16:creationId xmlns:a16="http://schemas.microsoft.com/office/drawing/2014/main" id="{BC28844E-7044-ED2F-80C2-48B9A1F54640}"/>
              </a:ext>
            </a:extLst>
          </p:cNvPr>
          <p:cNvSpPr>
            <a:spLocks noGrp="1"/>
          </p:cNvSpPr>
          <p:nvPr>
            <p:ph type="body" sz="quarter" idx="50"/>
          </p:nvPr>
        </p:nvSpPr>
        <p:spPr>
          <a:xfrm>
            <a:off x="6066682" y="1438715"/>
            <a:ext cx="2572262" cy="626701"/>
          </a:xfrm>
        </p:spPr>
        <p:txBody>
          <a:bodyPr/>
          <a:lstStyle/>
          <a:p>
            <a:r>
              <a:rPr lang="en-US" noProof="0"/>
              <a:t>Copilot helps retrieve regulation details based on the products in the shipment and the destination.</a:t>
            </a:r>
          </a:p>
          <a:p>
            <a:endParaRPr lang="en-US" noProof="0"/>
          </a:p>
        </p:txBody>
      </p:sp>
      <p:sp>
        <p:nvSpPr>
          <p:cNvPr id="116" name="Text Placeholder 115">
            <a:extLst>
              <a:ext uri="{FF2B5EF4-FFF2-40B4-BE49-F238E27FC236}">
                <a16:creationId xmlns:a16="http://schemas.microsoft.com/office/drawing/2014/main" id="{8D5223F3-FEBA-89AA-EE41-87D8546F2ECD}"/>
              </a:ext>
            </a:extLst>
          </p:cNvPr>
          <p:cNvSpPr>
            <a:spLocks noGrp="1"/>
          </p:cNvSpPr>
          <p:nvPr>
            <p:ph type="body" sz="quarter" idx="67"/>
          </p:nvPr>
        </p:nvSpPr>
        <p:spPr>
          <a:xfrm>
            <a:off x="8950475" y="2725494"/>
            <a:ext cx="2572262" cy="712876"/>
          </a:xfrm>
        </p:spPr>
        <p:txBody>
          <a:bodyPr/>
          <a:lstStyle/>
          <a:p>
            <a:r>
              <a:rPr lang="en-US" noProof="0"/>
              <a:t>Prompt: Retrieve the following product details for item #AD-98576</a:t>
            </a:r>
          </a:p>
        </p:txBody>
      </p:sp>
      <p:sp>
        <p:nvSpPr>
          <p:cNvPr id="114" name="Text Placeholder 113">
            <a:extLst>
              <a:ext uri="{FF2B5EF4-FFF2-40B4-BE49-F238E27FC236}">
                <a16:creationId xmlns:a16="http://schemas.microsoft.com/office/drawing/2014/main" id="{3ED05B8A-B63F-EE12-AC8B-F7A370F1B224}"/>
              </a:ext>
            </a:extLst>
          </p:cNvPr>
          <p:cNvSpPr>
            <a:spLocks noGrp="1"/>
          </p:cNvSpPr>
          <p:nvPr>
            <p:ph type="body" sz="quarter" idx="52"/>
          </p:nvPr>
        </p:nvSpPr>
        <p:spPr>
          <a:xfrm>
            <a:off x="8950475" y="1112478"/>
            <a:ext cx="2572262" cy="153888"/>
          </a:xfrm>
        </p:spPr>
        <p:txBody>
          <a:bodyPr/>
          <a:lstStyle/>
          <a:p>
            <a:r>
              <a:rPr lang="en-US" noProof="0"/>
              <a:t>Collect product information</a:t>
            </a:r>
          </a:p>
        </p:txBody>
      </p:sp>
      <p:sp>
        <p:nvSpPr>
          <p:cNvPr id="115" name="Text Placeholder 114">
            <a:extLst>
              <a:ext uri="{FF2B5EF4-FFF2-40B4-BE49-F238E27FC236}">
                <a16:creationId xmlns:a16="http://schemas.microsoft.com/office/drawing/2014/main" id="{3DEFDCC9-E4E1-E707-EFD7-CD53D950D3E1}"/>
              </a:ext>
            </a:extLst>
          </p:cNvPr>
          <p:cNvSpPr>
            <a:spLocks noGrp="1"/>
          </p:cNvSpPr>
          <p:nvPr>
            <p:ph type="body" sz="quarter" idx="53"/>
          </p:nvPr>
        </p:nvSpPr>
        <p:spPr>
          <a:xfrm>
            <a:off x="8950475" y="1438715"/>
            <a:ext cx="2572262" cy="626701"/>
          </a:xfrm>
        </p:spPr>
        <p:txBody>
          <a:bodyPr/>
          <a:lstStyle/>
          <a:p>
            <a:r>
              <a:rPr lang="en-US" noProof="0"/>
              <a:t>Use Copilot to retrieve product information needed to submit the required compliance and regulatory disclosures.</a:t>
            </a:r>
          </a:p>
          <a:p>
            <a:endParaRPr lang="en-US" noProof="0"/>
          </a:p>
        </p:txBody>
      </p:sp>
      <p:sp>
        <p:nvSpPr>
          <p:cNvPr id="113" name="Text Placeholder 112">
            <a:extLst>
              <a:ext uri="{FF2B5EF4-FFF2-40B4-BE49-F238E27FC236}">
                <a16:creationId xmlns:a16="http://schemas.microsoft.com/office/drawing/2014/main" id="{50C0029A-6473-A60B-A788-4712C895F813}"/>
              </a:ext>
            </a:extLst>
          </p:cNvPr>
          <p:cNvSpPr>
            <a:spLocks noGrp="1"/>
          </p:cNvSpPr>
          <p:nvPr>
            <p:ph type="body" sz="quarter" idx="66"/>
          </p:nvPr>
        </p:nvSpPr>
        <p:spPr>
          <a:xfrm>
            <a:off x="6066682" y="2725494"/>
            <a:ext cx="2572262" cy="712876"/>
          </a:xfrm>
        </p:spPr>
        <p:txBody>
          <a:bodyPr/>
          <a:lstStyle/>
          <a:p>
            <a:r>
              <a:rPr lang="en-US" noProof="0"/>
              <a:t>Prompt: Summarize the geographical regulations and restrictions that apply to dairy products shipped to California. Include the disclosure documents are required for shipping.</a:t>
            </a:r>
          </a:p>
        </p:txBody>
      </p:sp>
      <p:sp>
        <p:nvSpPr>
          <p:cNvPr id="117" name="Text Placeholder 116">
            <a:extLst>
              <a:ext uri="{FF2B5EF4-FFF2-40B4-BE49-F238E27FC236}">
                <a16:creationId xmlns:a16="http://schemas.microsoft.com/office/drawing/2014/main" id="{59000497-2FC9-18F3-E778-118679639AD0}"/>
              </a:ext>
            </a:extLst>
          </p:cNvPr>
          <p:cNvSpPr>
            <a:spLocks noGrp="1"/>
          </p:cNvSpPr>
          <p:nvPr>
            <p:ph type="body" sz="quarter" idx="58"/>
          </p:nvPr>
        </p:nvSpPr>
        <p:spPr>
          <a:xfrm>
            <a:off x="4036409" y="3725103"/>
            <a:ext cx="3161734" cy="153888"/>
          </a:xfrm>
        </p:spPr>
        <p:txBody>
          <a:bodyPr/>
          <a:lstStyle/>
          <a:p>
            <a:r>
              <a:rPr lang="en-US" noProof="0"/>
              <a:t>Generate report</a:t>
            </a:r>
          </a:p>
        </p:txBody>
      </p:sp>
      <p:sp>
        <p:nvSpPr>
          <p:cNvPr id="118" name="Text Placeholder 117">
            <a:extLst>
              <a:ext uri="{FF2B5EF4-FFF2-40B4-BE49-F238E27FC236}">
                <a16:creationId xmlns:a16="http://schemas.microsoft.com/office/drawing/2014/main" id="{896338D2-3FAF-67F4-CB72-C09992412D37}"/>
              </a:ext>
            </a:extLst>
          </p:cNvPr>
          <p:cNvSpPr>
            <a:spLocks noGrp="1"/>
          </p:cNvSpPr>
          <p:nvPr>
            <p:ph type="body" sz="quarter" idx="59"/>
          </p:nvPr>
        </p:nvSpPr>
        <p:spPr>
          <a:xfrm>
            <a:off x="4037013" y="4051300"/>
            <a:ext cx="3160712" cy="627063"/>
          </a:xfrm>
        </p:spPr>
        <p:txBody>
          <a:bodyPr/>
          <a:lstStyle/>
          <a:p>
            <a:r>
              <a:rPr lang="en-US" noProof="0"/>
              <a:t>Use Copilot to email and respond to various issues with Global Trade documentation.</a:t>
            </a:r>
          </a:p>
          <a:p>
            <a:endParaRPr lang="en-US" noProof="0"/>
          </a:p>
        </p:txBody>
      </p:sp>
      <p:sp>
        <p:nvSpPr>
          <p:cNvPr id="122" name="Text Placeholder 121">
            <a:extLst>
              <a:ext uri="{FF2B5EF4-FFF2-40B4-BE49-F238E27FC236}">
                <a16:creationId xmlns:a16="http://schemas.microsoft.com/office/drawing/2014/main" id="{D18B30A4-43B0-B491-ED0D-550CB8229E84}"/>
              </a:ext>
            </a:extLst>
          </p:cNvPr>
          <p:cNvSpPr>
            <a:spLocks noGrp="1"/>
          </p:cNvSpPr>
          <p:nvPr>
            <p:ph type="body" sz="quarter" idx="69"/>
          </p:nvPr>
        </p:nvSpPr>
        <p:spPr>
          <a:xfrm>
            <a:off x="7507483" y="5338502"/>
            <a:ext cx="3161734" cy="712876"/>
          </a:xfrm>
        </p:spPr>
        <p:txBody>
          <a:bodyPr/>
          <a:lstStyle/>
          <a:p>
            <a:r>
              <a:rPr lang="en-US" noProof="0"/>
              <a:t>Prompt: Verify all items against regulation governing restriction of entry into California and print the Commercial invoice with Harmonized Tax codes with schedule (2).</a:t>
            </a:r>
          </a:p>
        </p:txBody>
      </p:sp>
      <p:sp>
        <p:nvSpPr>
          <p:cNvPr id="120" name="Text Placeholder 119">
            <a:extLst>
              <a:ext uri="{FF2B5EF4-FFF2-40B4-BE49-F238E27FC236}">
                <a16:creationId xmlns:a16="http://schemas.microsoft.com/office/drawing/2014/main" id="{70EF0643-52BB-83D4-D4B8-3EA1F8E3C8C1}"/>
              </a:ext>
            </a:extLst>
          </p:cNvPr>
          <p:cNvSpPr>
            <a:spLocks noGrp="1"/>
          </p:cNvSpPr>
          <p:nvPr>
            <p:ph type="body" sz="quarter" idx="61"/>
          </p:nvPr>
        </p:nvSpPr>
        <p:spPr>
          <a:xfrm>
            <a:off x="7507483" y="3725103"/>
            <a:ext cx="3161734" cy="153888"/>
          </a:xfrm>
        </p:spPr>
        <p:txBody>
          <a:bodyPr/>
          <a:lstStyle/>
          <a:p>
            <a:r>
              <a:rPr lang="en-US" noProof="0"/>
              <a:t>Prepare required documents</a:t>
            </a:r>
          </a:p>
        </p:txBody>
      </p:sp>
      <p:sp>
        <p:nvSpPr>
          <p:cNvPr id="121" name="Text Placeholder 120">
            <a:extLst>
              <a:ext uri="{FF2B5EF4-FFF2-40B4-BE49-F238E27FC236}">
                <a16:creationId xmlns:a16="http://schemas.microsoft.com/office/drawing/2014/main" id="{9969B70A-097C-5332-D159-2410ABFD6106}"/>
              </a:ext>
            </a:extLst>
          </p:cNvPr>
          <p:cNvSpPr>
            <a:spLocks noGrp="1"/>
          </p:cNvSpPr>
          <p:nvPr>
            <p:ph type="body" sz="quarter" idx="62"/>
          </p:nvPr>
        </p:nvSpPr>
        <p:spPr>
          <a:xfrm>
            <a:off x="7507483" y="4050957"/>
            <a:ext cx="3161734" cy="626701"/>
          </a:xfrm>
        </p:spPr>
        <p:txBody>
          <a:bodyPr/>
          <a:lstStyle/>
          <a:p>
            <a:r>
              <a:rPr lang="en-US" noProof="0"/>
              <a:t>Copilot helps identify and prepare the required reports/ documentation for the order.</a:t>
            </a:r>
          </a:p>
          <a:p>
            <a:endParaRPr lang="en-US" noProof="0"/>
          </a:p>
        </p:txBody>
      </p:sp>
      <p:sp>
        <p:nvSpPr>
          <p:cNvPr id="119" name="Text Placeholder 118">
            <a:extLst>
              <a:ext uri="{FF2B5EF4-FFF2-40B4-BE49-F238E27FC236}">
                <a16:creationId xmlns:a16="http://schemas.microsoft.com/office/drawing/2014/main" id="{03F5BFC0-D588-099A-ABC7-9AA04D162D1E}"/>
              </a:ext>
            </a:extLst>
          </p:cNvPr>
          <p:cNvSpPr>
            <a:spLocks noGrp="1"/>
          </p:cNvSpPr>
          <p:nvPr>
            <p:ph type="body" sz="quarter" idx="68"/>
          </p:nvPr>
        </p:nvSpPr>
        <p:spPr>
          <a:xfrm>
            <a:off x="4036409" y="5338502"/>
            <a:ext cx="3161734" cy="712876"/>
          </a:xfrm>
        </p:spPr>
        <p:txBody>
          <a:bodyPr/>
          <a:lstStyle/>
          <a:p>
            <a:r>
              <a:rPr lang="en-US" noProof="0"/>
              <a:t>Prompt: Draft a response to Bruce Banner from Panalpina informing him the customs form for Okinawa entry needs to changed to JC7.1 for order 12345.</a:t>
            </a:r>
          </a:p>
        </p:txBody>
      </p:sp>
      <p:sp>
        <p:nvSpPr>
          <p:cNvPr id="123" name="Text Placeholder 122">
            <a:extLst>
              <a:ext uri="{FF2B5EF4-FFF2-40B4-BE49-F238E27FC236}">
                <a16:creationId xmlns:a16="http://schemas.microsoft.com/office/drawing/2014/main" id="{8843F75A-C841-46EF-3926-DB0DC5CAABED}"/>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24" name="Text Placeholder 123">
            <a:extLst>
              <a:ext uri="{FF2B5EF4-FFF2-40B4-BE49-F238E27FC236}">
                <a16:creationId xmlns:a16="http://schemas.microsoft.com/office/drawing/2014/main" id="{9F7723CC-4DB9-7AFC-335E-05B063C4420D}"/>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104" name="Text Placeholder 103">
            <a:extLst>
              <a:ext uri="{FF2B5EF4-FFF2-40B4-BE49-F238E27FC236}">
                <a16:creationId xmlns:a16="http://schemas.microsoft.com/office/drawing/2014/main" id="{D53AB7F2-C5E2-0F04-255D-657D4EF08F33}"/>
              </a:ext>
            </a:extLst>
          </p:cNvPr>
          <p:cNvSpPr>
            <a:spLocks noGrp="1"/>
          </p:cNvSpPr>
          <p:nvPr>
            <p:ph type="body" sz="quarter" idx="33"/>
          </p:nvPr>
        </p:nvSpPr>
        <p:spPr>
          <a:xfrm>
            <a:off x="304796" y="413987"/>
            <a:ext cx="1941119" cy="307777"/>
          </a:xfrm>
        </p:spPr>
        <p:txBody>
          <a:bodyPr/>
          <a:lstStyle/>
          <a:p>
            <a:r>
              <a:rPr lang="en-US"/>
              <a:t>Retail</a:t>
            </a:r>
          </a:p>
        </p:txBody>
      </p:sp>
      <p:sp>
        <p:nvSpPr>
          <p:cNvPr id="81" name="Title 80">
            <a:extLst>
              <a:ext uri="{FF2B5EF4-FFF2-40B4-BE49-F238E27FC236}">
                <a16:creationId xmlns:a16="http://schemas.microsoft.com/office/drawing/2014/main" id="{746B8061-522A-F58B-B4B3-EEC72746CAFC}"/>
              </a:ext>
            </a:extLst>
          </p:cNvPr>
          <p:cNvSpPr>
            <a:spLocks noGrp="1"/>
          </p:cNvSpPr>
          <p:nvPr>
            <p:ph type="title"/>
          </p:nvPr>
        </p:nvSpPr>
        <p:spPr>
          <a:xfrm>
            <a:off x="2492556" y="429376"/>
            <a:ext cx="4144817" cy="276999"/>
          </a:xfrm>
        </p:spPr>
        <p:txBody>
          <a:bodyPr vert="horz"/>
          <a:lstStyle/>
          <a:p>
            <a:r>
              <a:rPr lang="en-US" noProof="0"/>
              <a:t>Reduce sourcing compliance risk</a:t>
            </a:r>
          </a:p>
        </p:txBody>
      </p:sp>
      <p:grpSp>
        <p:nvGrpSpPr>
          <p:cNvPr id="155" name="Group 154">
            <a:extLst>
              <a:ext uri="{FF2B5EF4-FFF2-40B4-BE49-F238E27FC236}">
                <a16:creationId xmlns:a16="http://schemas.microsoft.com/office/drawing/2014/main" id="{4573061F-E75E-A207-BD65-A135E7DC5612}"/>
              </a:ext>
            </a:extLst>
          </p:cNvPr>
          <p:cNvGrpSpPr/>
          <p:nvPr/>
        </p:nvGrpSpPr>
        <p:grpSpPr>
          <a:xfrm>
            <a:off x="320719" y="5020658"/>
            <a:ext cx="1771605" cy="216000"/>
            <a:chOff x="320719" y="4224856"/>
            <a:chExt cx="1771605" cy="219456"/>
          </a:xfrm>
        </p:grpSpPr>
        <p:sp>
          <p:nvSpPr>
            <p:cNvPr id="156" name="Rectangle: Rounded Corners 6">
              <a:extLst>
                <a:ext uri="{FF2B5EF4-FFF2-40B4-BE49-F238E27FC236}">
                  <a16:creationId xmlns:a16="http://schemas.microsoft.com/office/drawing/2014/main" id="{E07D22CA-2522-B707-DEBB-5D145D75FCA1}"/>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57" name="Graphic 156">
              <a:extLst>
                <a:ext uri="{FF2B5EF4-FFF2-40B4-BE49-F238E27FC236}">
                  <a16:creationId xmlns:a16="http://schemas.microsoft.com/office/drawing/2014/main" id="{3B32E224-4B2C-F2E4-1043-CBB1B61014BA}"/>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4260849"/>
              <a:ext cx="144000" cy="144000"/>
            </a:xfrm>
            <a:prstGeom prst="rect">
              <a:avLst/>
            </a:prstGeom>
          </p:spPr>
        </p:pic>
      </p:grpSp>
      <p:grpSp>
        <p:nvGrpSpPr>
          <p:cNvPr id="161" name="Group 160">
            <a:extLst>
              <a:ext uri="{FF2B5EF4-FFF2-40B4-BE49-F238E27FC236}">
                <a16:creationId xmlns:a16="http://schemas.microsoft.com/office/drawing/2014/main" id="{BE81F24F-7153-3D2A-D9A9-0B158D32C276}"/>
              </a:ext>
            </a:extLst>
          </p:cNvPr>
          <p:cNvGrpSpPr/>
          <p:nvPr/>
        </p:nvGrpSpPr>
        <p:grpSpPr>
          <a:xfrm>
            <a:off x="320719" y="3778836"/>
            <a:ext cx="1771605" cy="216000"/>
            <a:chOff x="320719" y="4224856"/>
            <a:chExt cx="1771605" cy="219456"/>
          </a:xfrm>
        </p:grpSpPr>
        <p:sp>
          <p:nvSpPr>
            <p:cNvPr id="162" name="Rectangle: Rounded Corners 6">
              <a:extLst>
                <a:ext uri="{FF2B5EF4-FFF2-40B4-BE49-F238E27FC236}">
                  <a16:creationId xmlns:a16="http://schemas.microsoft.com/office/drawing/2014/main" id="{57309446-DA9F-D77B-640A-53E455EB705C}"/>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ourcing costs</a:t>
              </a:r>
            </a:p>
          </p:txBody>
        </p:sp>
        <p:pic>
          <p:nvPicPr>
            <p:cNvPr id="163" name="Graphic 162">
              <a:extLst>
                <a:ext uri="{FF2B5EF4-FFF2-40B4-BE49-F238E27FC236}">
                  <a16:creationId xmlns:a16="http://schemas.microsoft.com/office/drawing/2014/main" id="{11DDF905-66F6-7B9C-A986-1BAD879978B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67506" y="4260849"/>
              <a:ext cx="144000" cy="144000"/>
            </a:xfrm>
            <a:prstGeom prst="rect">
              <a:avLst/>
            </a:prstGeom>
          </p:spPr>
        </p:pic>
      </p:grpSp>
      <p:sp>
        <p:nvSpPr>
          <p:cNvPr id="1066" name="TextBox 1065">
            <a:extLst>
              <a:ext uri="{FF2B5EF4-FFF2-40B4-BE49-F238E27FC236}">
                <a16:creationId xmlns:a16="http://schemas.microsoft.com/office/drawing/2014/main" id="{48F5292B-4418-2791-D68E-3EF0EE730AB6}"/>
              </a:ext>
              <a:ext uri="{C183D7F6-B498-43B3-948B-1728B52AA6E4}">
                <adec:decorative xmlns:adec="http://schemas.microsoft.com/office/drawing/2017/decorative" val="0"/>
              </a:ext>
            </a:extLst>
          </p:cNvPr>
          <p:cNvSpPr txBox="1"/>
          <p:nvPr/>
        </p:nvSpPr>
        <p:spPr>
          <a:xfrm>
            <a:off x="9327307" y="2270123"/>
            <a:ext cx="2398798" cy="8979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Retail PIM system</a:t>
            </a:r>
          </a:p>
        </p:txBody>
      </p:sp>
      <p:sp>
        <p:nvSpPr>
          <p:cNvPr id="1059" name="TextBox 1058">
            <a:extLst>
              <a:ext uri="{FF2B5EF4-FFF2-40B4-BE49-F238E27FC236}">
                <a16:creationId xmlns:a16="http://schemas.microsoft.com/office/drawing/2014/main" id="{EFD9E97A-F047-A9A9-0953-8F719AE5511B}"/>
              </a:ext>
              <a:ext uri="{C183D7F6-B498-43B3-948B-1728B52AA6E4}">
                <adec:decorative xmlns:adec="http://schemas.microsoft.com/office/drawing/2017/decorative" val="0"/>
              </a:ext>
            </a:extLst>
          </p:cNvPr>
          <p:cNvSpPr txBox="1"/>
          <p:nvPr/>
        </p:nvSpPr>
        <p:spPr>
          <a:xfrm>
            <a:off x="6447645" y="2270123"/>
            <a:ext cx="2398798" cy="8979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Retail ERP system</a:t>
            </a:r>
          </a:p>
        </p:txBody>
      </p:sp>
      <p:sp>
        <p:nvSpPr>
          <p:cNvPr id="1062" name="TextBox 1061">
            <a:extLst>
              <a:ext uri="{FF2B5EF4-FFF2-40B4-BE49-F238E27FC236}">
                <a16:creationId xmlns:a16="http://schemas.microsoft.com/office/drawing/2014/main" id="{94E1A818-7E57-AE72-24DD-288A96BB8DEE}"/>
              </a:ext>
              <a:ext uri="{C183D7F6-B498-43B3-948B-1728B52AA6E4}">
                <adec:decorative xmlns:adec="http://schemas.microsoft.com/office/drawing/2017/decorative" val="0"/>
              </a:ext>
            </a:extLst>
          </p:cNvPr>
          <p:cNvSpPr txBox="1"/>
          <p:nvPr/>
        </p:nvSpPr>
        <p:spPr>
          <a:xfrm>
            <a:off x="3559920" y="2270123"/>
            <a:ext cx="2379991" cy="8979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Retail ERP system</a:t>
            </a:r>
          </a:p>
        </p:txBody>
      </p:sp>
      <p:sp>
        <p:nvSpPr>
          <p:cNvPr id="1050" name="TextBox 1049">
            <a:extLst>
              <a:ext uri="{FF2B5EF4-FFF2-40B4-BE49-F238E27FC236}">
                <a16:creationId xmlns:a16="http://schemas.microsoft.com/office/drawing/2014/main" id="{1CE04C1D-BD8A-916A-3D30-9057CAFB7C52}"/>
              </a:ext>
              <a:ext uri="{C183D7F6-B498-43B3-948B-1728B52AA6E4}">
                <adec:decorative xmlns:adec="http://schemas.microsoft.com/office/drawing/2017/decorative" val="0"/>
              </a:ext>
            </a:extLst>
          </p:cNvPr>
          <p:cNvSpPr txBox="1"/>
          <p:nvPr/>
        </p:nvSpPr>
        <p:spPr>
          <a:xfrm>
            <a:off x="7866233" y="4900611"/>
            <a:ext cx="3161733" cy="95186"/>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Retail MDM system</a:t>
            </a:r>
          </a:p>
        </p:txBody>
      </p:sp>
      <p:pic>
        <p:nvPicPr>
          <p:cNvPr id="31" name="Picture 30">
            <a:extLst>
              <a:ext uri="{FF2B5EF4-FFF2-40B4-BE49-F238E27FC236}">
                <a16:creationId xmlns:a16="http://schemas.microsoft.com/office/drawing/2014/main" id="{84322308-34B3-8A9B-5B80-F82A68BA2542}"/>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8950325" y="2207040"/>
            <a:ext cx="224338" cy="215956"/>
          </a:xfrm>
          <a:prstGeom prst="rect">
            <a:avLst/>
          </a:prstGeom>
          <a:ln w="6657" cap="flat">
            <a:noFill/>
            <a:prstDash val="solid"/>
            <a:miter/>
          </a:ln>
          <a:effectLst/>
        </p:spPr>
      </p:pic>
      <p:pic>
        <p:nvPicPr>
          <p:cNvPr id="32" name="Picture 31">
            <a:extLst>
              <a:ext uri="{FF2B5EF4-FFF2-40B4-BE49-F238E27FC236}">
                <a16:creationId xmlns:a16="http://schemas.microsoft.com/office/drawing/2014/main" id="{5C69A603-4C75-2118-FA95-9ED77000ACA7}"/>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6067425" y="2207040"/>
            <a:ext cx="224338" cy="215956"/>
          </a:xfrm>
          <a:prstGeom prst="rect">
            <a:avLst/>
          </a:prstGeom>
          <a:ln w="6657" cap="flat">
            <a:noFill/>
            <a:prstDash val="solid"/>
            <a:miter/>
          </a:ln>
          <a:effectLst/>
        </p:spPr>
      </p:pic>
      <p:pic>
        <p:nvPicPr>
          <p:cNvPr id="33" name="Picture 32">
            <a:extLst>
              <a:ext uri="{FF2B5EF4-FFF2-40B4-BE49-F238E27FC236}">
                <a16:creationId xmlns:a16="http://schemas.microsoft.com/office/drawing/2014/main" id="{7E06DA09-BF35-B80C-93F1-3FC142FF0CA1}"/>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3182938" y="2207040"/>
            <a:ext cx="224338" cy="215956"/>
          </a:xfrm>
          <a:prstGeom prst="rect">
            <a:avLst/>
          </a:prstGeom>
          <a:ln w="6657" cap="flat">
            <a:noFill/>
            <a:prstDash val="solid"/>
            <a:miter/>
          </a:ln>
          <a:effectLst/>
        </p:spPr>
      </p:pic>
      <p:pic>
        <p:nvPicPr>
          <p:cNvPr id="34" name="Picture 33">
            <a:extLst>
              <a:ext uri="{FF2B5EF4-FFF2-40B4-BE49-F238E27FC236}">
                <a16:creationId xmlns:a16="http://schemas.microsoft.com/office/drawing/2014/main" id="{08862BB2-0600-B4C2-8835-4BC0EAB046EB}"/>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7507288" y="4840226"/>
            <a:ext cx="224338" cy="215956"/>
          </a:xfrm>
          <a:prstGeom prst="rect">
            <a:avLst/>
          </a:prstGeom>
          <a:ln w="6657" cap="flat">
            <a:noFill/>
            <a:prstDash val="solid"/>
            <a:miter/>
          </a:ln>
          <a:effectLst/>
        </p:spPr>
      </p:pic>
      <p:sp>
        <p:nvSpPr>
          <p:cNvPr id="35" name="TextBox 34">
            <a:extLst>
              <a:ext uri="{FF2B5EF4-FFF2-40B4-BE49-F238E27FC236}">
                <a16:creationId xmlns:a16="http://schemas.microsoft.com/office/drawing/2014/main" id="{FF4B8EC5-935C-63CA-4E5F-23050D721D74}"/>
              </a:ext>
              <a:ext uri="{C183D7F6-B498-43B3-948B-1728B52AA6E4}">
                <adec:decorative xmlns:adec="http://schemas.microsoft.com/office/drawing/2017/decorative" val="0"/>
              </a:ext>
            </a:extLst>
          </p:cNvPr>
          <p:cNvSpPr txBox="1"/>
          <p:nvPr/>
        </p:nvSpPr>
        <p:spPr>
          <a:xfrm>
            <a:off x="4417233" y="4718050"/>
            <a:ext cx="1490793" cy="486726"/>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Outlook</a:t>
            </a:r>
          </a:p>
        </p:txBody>
      </p:sp>
      <p:pic>
        <p:nvPicPr>
          <p:cNvPr id="37" name="Picture 28" descr="Microsoft Outlook Logo PNG, Logo Outlook.com Transparent Images - Free ...">
            <a:extLst>
              <a:ext uri="{FF2B5EF4-FFF2-40B4-BE49-F238E27FC236}">
                <a16:creationId xmlns:a16="http://schemas.microsoft.com/office/drawing/2014/main" id="{5A9AA088-A3ED-1BB2-631E-7E4E9D9F1125}"/>
              </a:ext>
            </a:extLst>
          </p:cNvPr>
          <p:cNvPicPr>
            <a:picLocks noChangeArrowheads="1"/>
          </p:cNvPicPr>
          <p:nvPr/>
        </p:nvPicPr>
        <p:blipFill rotWithShape="1">
          <a:blip r:embed="rId10">
            <a:extLst>
              <a:ext uri="{28A0092B-C50C-407E-A947-70E740481C1C}">
                <a14:useLocalDpi xmlns:a14="http://schemas.microsoft.com/office/drawing/2010/main" val="0"/>
              </a:ext>
            </a:extLst>
          </a:blip>
          <a:srcRect t="-3781" b="-3781"/>
          <a:stretch/>
        </p:blipFill>
        <p:spPr bwMode="auto">
          <a:xfrm>
            <a:off x="4037013" y="4849838"/>
            <a:ext cx="223150" cy="223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48359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02C5FA-358B-6011-7544-7A938DBAB797}"/>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A99DB00-22FE-9156-5C3F-3A17070549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2" name="think-cell data - do not delete" hidden="1">
                        <a:extLst>
                          <a:ext uri="{FF2B5EF4-FFF2-40B4-BE49-F238E27FC236}">
                            <a16:creationId xmlns:a16="http://schemas.microsoft.com/office/drawing/2014/main" id="{AA99DB00-22FE-9156-5C3F-3A17070549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6" name="Text Placeholder 1025">
            <a:extLst>
              <a:ext uri="{FF2B5EF4-FFF2-40B4-BE49-F238E27FC236}">
                <a16:creationId xmlns:a16="http://schemas.microsoft.com/office/drawing/2014/main" id="{D401D1AA-AFF5-9F95-17F9-32E7FE16E901}"/>
              </a:ext>
            </a:extLst>
          </p:cNvPr>
          <p:cNvSpPr>
            <a:spLocks noGrp="1"/>
          </p:cNvSpPr>
          <p:nvPr>
            <p:ph type="body" sz="quarter" idx="32"/>
          </p:nvPr>
        </p:nvSpPr>
        <p:spPr>
          <a:xfrm>
            <a:off x="311388" y="1026303"/>
            <a:ext cx="2431246" cy="1131079"/>
          </a:xfrm>
        </p:spPr>
        <p:txBody>
          <a:bodyPr/>
          <a:lstStyle/>
          <a:p>
            <a:r>
              <a:rPr lang="en-US" noProof="0" dirty="0"/>
              <a:t>Retailers can apply generative AI to store associate assignments, scheduling, and training to increase productivity, efficiency, job satisfaction, and business growth. </a:t>
            </a:r>
          </a:p>
        </p:txBody>
      </p:sp>
      <p:sp>
        <p:nvSpPr>
          <p:cNvPr id="30" name="Text Placeholder 29">
            <a:extLst>
              <a:ext uri="{FF2B5EF4-FFF2-40B4-BE49-F238E27FC236}">
                <a16:creationId xmlns:a16="http://schemas.microsoft.com/office/drawing/2014/main" id="{5658BCD7-44D3-5BA6-B6AE-A9D923A5678A}"/>
              </a:ext>
            </a:extLst>
          </p:cNvPr>
          <p:cNvSpPr>
            <a:spLocks noGrp="1"/>
          </p:cNvSpPr>
          <p:nvPr>
            <p:ph type="body" sz="quarter" idx="33"/>
          </p:nvPr>
        </p:nvSpPr>
        <p:spPr>
          <a:xfrm>
            <a:off x="304796" y="413987"/>
            <a:ext cx="2057403" cy="307777"/>
          </a:xfrm>
        </p:spPr>
        <p:txBody>
          <a:bodyPr/>
          <a:lstStyle/>
          <a:p>
            <a:r>
              <a:rPr lang="en-US"/>
              <a:t>Retail</a:t>
            </a:r>
          </a:p>
        </p:txBody>
      </p:sp>
      <p:sp>
        <p:nvSpPr>
          <p:cNvPr id="22" name="Text Placeholder 21">
            <a:extLst>
              <a:ext uri="{FF2B5EF4-FFF2-40B4-BE49-F238E27FC236}">
                <a16:creationId xmlns:a16="http://schemas.microsoft.com/office/drawing/2014/main" id="{5EF4E4E3-3A94-40DB-B830-C024F869173D}"/>
              </a:ext>
            </a:extLst>
          </p:cNvPr>
          <p:cNvSpPr>
            <a:spLocks noGrp="1"/>
          </p:cNvSpPr>
          <p:nvPr>
            <p:ph type="body" sz="quarter" idx="30"/>
          </p:nvPr>
        </p:nvSpPr>
        <p:spPr>
          <a:xfrm>
            <a:off x="10430351" y="521099"/>
            <a:ext cx="1456966" cy="175614"/>
          </a:xfrm>
        </p:spPr>
        <p:txBody>
          <a:bodyPr/>
          <a:lstStyle/>
          <a:p>
            <a:r>
              <a:rPr lang="en-US" noProof="0"/>
              <a:t>Extend</a:t>
            </a:r>
          </a:p>
        </p:txBody>
      </p:sp>
      <p:sp>
        <p:nvSpPr>
          <p:cNvPr id="20" name="Text Placeholder 19">
            <a:extLst>
              <a:ext uri="{FF2B5EF4-FFF2-40B4-BE49-F238E27FC236}">
                <a16:creationId xmlns:a16="http://schemas.microsoft.com/office/drawing/2014/main" id="{C20ABE0D-8325-A244-EE5F-F559C709D66F}"/>
              </a:ext>
            </a:extLst>
          </p:cNvPr>
          <p:cNvSpPr>
            <a:spLocks noGrp="1"/>
          </p:cNvSpPr>
          <p:nvPr>
            <p:ph type="body" sz="quarter" idx="17"/>
          </p:nvPr>
        </p:nvSpPr>
        <p:spPr>
          <a:xfrm>
            <a:off x="7149557" y="521100"/>
            <a:ext cx="2969488" cy="169277"/>
          </a:xfrm>
        </p:spPr>
        <p:txBody>
          <a:bodyPr/>
          <a:lstStyle/>
          <a:p>
            <a:r>
              <a:rPr lang="en-US" noProof="0"/>
              <a:t>Microsoft 365 Copilot and Copilot Studio</a:t>
            </a:r>
          </a:p>
        </p:txBody>
      </p:sp>
      <p:sp>
        <p:nvSpPr>
          <p:cNvPr id="14" name="Title 13">
            <a:extLst>
              <a:ext uri="{FF2B5EF4-FFF2-40B4-BE49-F238E27FC236}">
                <a16:creationId xmlns:a16="http://schemas.microsoft.com/office/drawing/2014/main" id="{8054DA99-1756-767E-6AFE-8447DA08F72B}"/>
              </a:ext>
            </a:extLst>
          </p:cNvPr>
          <p:cNvSpPr>
            <a:spLocks noGrp="1"/>
          </p:cNvSpPr>
          <p:nvPr>
            <p:ph type="title"/>
          </p:nvPr>
        </p:nvSpPr>
        <p:spPr>
          <a:xfrm>
            <a:off x="2492556" y="429376"/>
            <a:ext cx="4144817" cy="276999"/>
          </a:xfrm>
        </p:spPr>
        <p:txBody>
          <a:bodyPr vert="horz"/>
          <a:lstStyle/>
          <a:p>
            <a:r>
              <a:rPr lang="en-US"/>
              <a:t>Improve store associate management</a:t>
            </a:r>
          </a:p>
        </p:txBody>
      </p:sp>
      <p:sp>
        <p:nvSpPr>
          <p:cNvPr id="80" name="Text Placeholder 79">
            <a:extLst>
              <a:ext uri="{FF2B5EF4-FFF2-40B4-BE49-F238E27FC236}">
                <a16:creationId xmlns:a16="http://schemas.microsoft.com/office/drawing/2014/main" id="{19EA37ED-6181-5BFA-7D27-D80DB731B2E3}"/>
              </a:ext>
            </a:extLst>
          </p:cNvPr>
          <p:cNvSpPr>
            <a:spLocks noGrp="1"/>
          </p:cNvSpPr>
          <p:nvPr>
            <p:ph type="body" sz="quarter" idx="69"/>
          </p:nvPr>
        </p:nvSpPr>
        <p:spPr>
          <a:xfrm>
            <a:off x="3182890" y="2725494"/>
            <a:ext cx="2572262" cy="712876"/>
          </a:xfrm>
        </p:spPr>
        <p:txBody>
          <a:bodyPr/>
          <a:lstStyle/>
          <a:p>
            <a:r>
              <a:rPr lang="en-US" noProof="0" dirty="0"/>
              <a:t>Prompt: Generate a shift roster for the 8</a:t>
            </a:r>
            <a:r>
              <a:rPr lang="en-US" noProof="0" dirty="0">
                <a:sym typeface="Wingdings" panose="05000000000000000000" pitchFamily="2" charset="2"/>
              </a:rPr>
              <a:t>:00 am-4:00 pm shift for this coming Monday factoring in the work hour regulations for California.</a:t>
            </a:r>
            <a:endParaRPr lang="en-US" noProof="0" dirty="0"/>
          </a:p>
        </p:txBody>
      </p:sp>
      <p:sp>
        <p:nvSpPr>
          <p:cNvPr id="19" name="Text Placeholder 18">
            <a:extLst>
              <a:ext uri="{FF2B5EF4-FFF2-40B4-BE49-F238E27FC236}">
                <a16:creationId xmlns:a16="http://schemas.microsoft.com/office/drawing/2014/main" id="{B9DE39F2-BA5B-C09C-78DF-BEE5F39A2922}"/>
              </a:ext>
            </a:extLst>
          </p:cNvPr>
          <p:cNvSpPr>
            <a:spLocks noGrp="1"/>
          </p:cNvSpPr>
          <p:nvPr>
            <p:ph type="body" sz="quarter" idx="11"/>
          </p:nvPr>
        </p:nvSpPr>
        <p:spPr>
          <a:xfrm>
            <a:off x="3182890" y="1112478"/>
            <a:ext cx="2572262" cy="153888"/>
          </a:xfrm>
        </p:spPr>
        <p:txBody>
          <a:bodyPr/>
          <a:lstStyle/>
          <a:p>
            <a:r>
              <a:rPr lang="en-US" noProof="0"/>
              <a:t>Create optimized shift rosters</a:t>
            </a:r>
          </a:p>
        </p:txBody>
      </p:sp>
      <p:sp>
        <p:nvSpPr>
          <p:cNvPr id="21" name="Text Placeholder 20">
            <a:extLst>
              <a:ext uri="{FF2B5EF4-FFF2-40B4-BE49-F238E27FC236}">
                <a16:creationId xmlns:a16="http://schemas.microsoft.com/office/drawing/2014/main" id="{6B8CB2CE-65C5-5AE2-B8A7-C19551C256F6}"/>
              </a:ext>
            </a:extLst>
          </p:cNvPr>
          <p:cNvSpPr>
            <a:spLocks noGrp="1"/>
          </p:cNvSpPr>
          <p:nvPr>
            <p:ph type="body" sz="quarter" idx="18"/>
          </p:nvPr>
        </p:nvSpPr>
        <p:spPr>
          <a:xfrm>
            <a:off x="3182890" y="1438715"/>
            <a:ext cx="2572262" cy="626701"/>
          </a:xfrm>
        </p:spPr>
        <p:txBody>
          <a:bodyPr/>
          <a:lstStyle/>
          <a:p>
            <a:r>
              <a:rPr lang="en-US" noProof="0"/>
              <a:t>Copilot helps create a shift schedule based on employee availability, applicable regulations, enterprise guidelines, and predicted store traffic.</a:t>
            </a:r>
          </a:p>
          <a:p>
            <a:endParaRPr lang="en-US" noProof="0"/>
          </a:p>
        </p:txBody>
      </p:sp>
      <p:sp>
        <p:nvSpPr>
          <p:cNvPr id="32" name="Text Placeholder 31">
            <a:extLst>
              <a:ext uri="{FF2B5EF4-FFF2-40B4-BE49-F238E27FC236}">
                <a16:creationId xmlns:a16="http://schemas.microsoft.com/office/drawing/2014/main" id="{5B7960C1-FBE0-733C-2F91-A22C422FA37A}"/>
              </a:ext>
            </a:extLst>
          </p:cNvPr>
          <p:cNvSpPr>
            <a:spLocks noGrp="1"/>
          </p:cNvSpPr>
          <p:nvPr>
            <p:ph type="body" sz="quarter" idx="42"/>
          </p:nvPr>
        </p:nvSpPr>
        <p:spPr>
          <a:xfrm>
            <a:off x="6066682" y="1112478"/>
            <a:ext cx="2572262" cy="153888"/>
          </a:xfrm>
        </p:spPr>
        <p:txBody>
          <a:bodyPr/>
          <a:lstStyle/>
          <a:p>
            <a:r>
              <a:rPr lang="en-US" noProof="0"/>
              <a:t>Modify shift operations</a:t>
            </a:r>
          </a:p>
        </p:txBody>
      </p:sp>
      <p:sp>
        <p:nvSpPr>
          <p:cNvPr id="42" name="Text Placeholder 41">
            <a:extLst>
              <a:ext uri="{FF2B5EF4-FFF2-40B4-BE49-F238E27FC236}">
                <a16:creationId xmlns:a16="http://schemas.microsoft.com/office/drawing/2014/main" id="{48AA8F16-13EF-B3A9-BD84-73D753E3BE50}"/>
              </a:ext>
            </a:extLst>
          </p:cNvPr>
          <p:cNvSpPr>
            <a:spLocks noGrp="1"/>
          </p:cNvSpPr>
          <p:nvPr>
            <p:ph type="body" sz="quarter" idx="43"/>
          </p:nvPr>
        </p:nvSpPr>
        <p:spPr>
          <a:xfrm>
            <a:off x="6066682" y="1438715"/>
            <a:ext cx="2572262" cy="626701"/>
          </a:xfrm>
        </p:spPr>
        <p:txBody>
          <a:bodyPr/>
          <a:lstStyle/>
          <a:p>
            <a:r>
              <a:rPr lang="en-US" noProof="0"/>
              <a:t>Copilot gathers email and Teams chat notifications of employee time off or late start times to determine the changes needed for work assignments and additional workforce needs.</a:t>
            </a:r>
          </a:p>
          <a:p>
            <a:endParaRPr lang="en-US" noProof="0"/>
          </a:p>
        </p:txBody>
      </p:sp>
      <p:sp>
        <p:nvSpPr>
          <p:cNvPr id="74" name="Text Placeholder 73">
            <a:extLst>
              <a:ext uri="{FF2B5EF4-FFF2-40B4-BE49-F238E27FC236}">
                <a16:creationId xmlns:a16="http://schemas.microsoft.com/office/drawing/2014/main" id="{580CCC39-8EAF-BE9C-24E4-548013D7E2F8}"/>
              </a:ext>
            </a:extLst>
          </p:cNvPr>
          <p:cNvSpPr>
            <a:spLocks noGrp="1"/>
          </p:cNvSpPr>
          <p:nvPr>
            <p:ph type="body" sz="quarter" idx="68"/>
          </p:nvPr>
        </p:nvSpPr>
        <p:spPr>
          <a:xfrm>
            <a:off x="8950475" y="2725494"/>
            <a:ext cx="2572262" cy="712876"/>
          </a:xfrm>
        </p:spPr>
        <p:txBody>
          <a:bodyPr/>
          <a:lstStyle/>
          <a:p>
            <a:r>
              <a:rPr lang="en-US" noProof="0" dirty="0"/>
              <a:t>Prompt: Add tasks to the shift schedule next week. Make sure the priority tasks for each shift base on / ContosoStoreProcedureGuide.doc are assigned. </a:t>
            </a:r>
          </a:p>
        </p:txBody>
      </p:sp>
      <p:sp>
        <p:nvSpPr>
          <p:cNvPr id="64" name="Text Placeholder 63">
            <a:extLst>
              <a:ext uri="{FF2B5EF4-FFF2-40B4-BE49-F238E27FC236}">
                <a16:creationId xmlns:a16="http://schemas.microsoft.com/office/drawing/2014/main" id="{76C60122-4E62-EE04-07A3-91E99772ABA4}"/>
              </a:ext>
            </a:extLst>
          </p:cNvPr>
          <p:cNvSpPr>
            <a:spLocks noGrp="1"/>
          </p:cNvSpPr>
          <p:nvPr>
            <p:ph type="body" sz="quarter" idx="45"/>
          </p:nvPr>
        </p:nvSpPr>
        <p:spPr>
          <a:xfrm>
            <a:off x="8950475" y="1112478"/>
            <a:ext cx="2572262" cy="153888"/>
          </a:xfrm>
        </p:spPr>
        <p:txBody>
          <a:bodyPr/>
          <a:lstStyle/>
          <a:p>
            <a:r>
              <a:rPr lang="en-US" noProof="0"/>
              <a:t>Assign high priority tasks</a:t>
            </a:r>
          </a:p>
        </p:txBody>
      </p:sp>
      <p:sp>
        <p:nvSpPr>
          <p:cNvPr id="65" name="Text Placeholder 64">
            <a:extLst>
              <a:ext uri="{FF2B5EF4-FFF2-40B4-BE49-F238E27FC236}">
                <a16:creationId xmlns:a16="http://schemas.microsoft.com/office/drawing/2014/main" id="{36BAAB0C-8991-61E8-BF3B-205BA153A26A}"/>
              </a:ext>
            </a:extLst>
          </p:cNvPr>
          <p:cNvSpPr>
            <a:spLocks noGrp="1"/>
          </p:cNvSpPr>
          <p:nvPr>
            <p:ph type="body" sz="quarter" idx="46"/>
          </p:nvPr>
        </p:nvSpPr>
        <p:spPr>
          <a:xfrm>
            <a:off x="8950475" y="1438715"/>
            <a:ext cx="2572262" cy="626701"/>
          </a:xfrm>
        </p:spPr>
        <p:txBody>
          <a:bodyPr/>
          <a:lstStyle/>
          <a:p>
            <a:r>
              <a:rPr lang="en-US" noProof="0"/>
              <a:t>Copilot provides a proposed list of tasks for each store location and shift based on the procedural guidance manual.</a:t>
            </a:r>
          </a:p>
          <a:p>
            <a:endParaRPr lang="en-US" noProof="0"/>
          </a:p>
        </p:txBody>
      </p:sp>
      <p:sp>
        <p:nvSpPr>
          <p:cNvPr id="88" name="Text Placeholder 87">
            <a:extLst>
              <a:ext uri="{FF2B5EF4-FFF2-40B4-BE49-F238E27FC236}">
                <a16:creationId xmlns:a16="http://schemas.microsoft.com/office/drawing/2014/main" id="{4B40E3B4-0CAC-C2AD-EF42-3AA6A082BBC8}"/>
              </a:ext>
            </a:extLst>
          </p:cNvPr>
          <p:cNvSpPr>
            <a:spLocks noGrp="1"/>
          </p:cNvSpPr>
          <p:nvPr>
            <p:ph type="body" sz="quarter" idx="70"/>
          </p:nvPr>
        </p:nvSpPr>
        <p:spPr>
          <a:xfrm>
            <a:off x="6066682" y="2725494"/>
            <a:ext cx="2572262" cy="712876"/>
          </a:xfrm>
        </p:spPr>
        <p:txBody>
          <a:bodyPr/>
          <a:lstStyle/>
          <a:p>
            <a:r>
              <a:rPr lang="en-US" noProof="0" dirty="0"/>
              <a:t>Prompt: Summarize emails and Teams chats about staff delays or absence. Arrange them in a table including the employee name and the details of the changes needed.</a:t>
            </a:r>
          </a:p>
        </p:txBody>
      </p:sp>
      <p:sp>
        <p:nvSpPr>
          <p:cNvPr id="75" name="Text Placeholder 74">
            <a:extLst>
              <a:ext uri="{FF2B5EF4-FFF2-40B4-BE49-F238E27FC236}">
                <a16:creationId xmlns:a16="http://schemas.microsoft.com/office/drawing/2014/main" id="{1A0477AE-5DA3-7EDC-9FFC-CE1051FA33A4}"/>
              </a:ext>
            </a:extLst>
          </p:cNvPr>
          <p:cNvSpPr>
            <a:spLocks noGrp="1"/>
          </p:cNvSpPr>
          <p:nvPr>
            <p:ph type="body" sz="quarter" idx="48"/>
          </p:nvPr>
        </p:nvSpPr>
        <p:spPr>
          <a:xfrm>
            <a:off x="3182890" y="5334522"/>
            <a:ext cx="2572262" cy="712876"/>
          </a:xfrm>
        </p:spPr>
        <p:txBody>
          <a:bodyPr/>
          <a:lstStyle/>
          <a:p>
            <a:pPr>
              <a:lnSpc>
                <a:spcPct val="90000"/>
              </a:lnSpc>
              <a:spcAft>
                <a:spcPts val="0"/>
              </a:spcAft>
            </a:pPr>
            <a:r>
              <a:rPr lang="en-US" noProof="0" dirty="0"/>
              <a:t>Prompt: Draft an email notifying the team of the latest shift schedule and priority task assignments. Remind them to provide at least one week notice for any scheduling changes needed. Emphasize that there are new policy updates they must read and implement prior to their next shift. </a:t>
            </a:r>
          </a:p>
        </p:txBody>
      </p:sp>
      <p:sp>
        <p:nvSpPr>
          <p:cNvPr id="76" name="Text Placeholder 75">
            <a:extLst>
              <a:ext uri="{FF2B5EF4-FFF2-40B4-BE49-F238E27FC236}">
                <a16:creationId xmlns:a16="http://schemas.microsoft.com/office/drawing/2014/main" id="{061E5DD8-CAE1-B9D8-4E9A-FF37704C2B4F}"/>
              </a:ext>
            </a:extLst>
          </p:cNvPr>
          <p:cNvSpPr>
            <a:spLocks noGrp="1"/>
          </p:cNvSpPr>
          <p:nvPr>
            <p:ph type="body" sz="quarter" idx="49"/>
          </p:nvPr>
        </p:nvSpPr>
        <p:spPr>
          <a:xfrm>
            <a:off x="3182890" y="3725103"/>
            <a:ext cx="2572262" cy="153888"/>
          </a:xfrm>
        </p:spPr>
        <p:txBody>
          <a:bodyPr/>
          <a:lstStyle/>
          <a:p>
            <a:r>
              <a:rPr lang="en-US" noProof="0"/>
              <a:t>Send weekly employee update</a:t>
            </a:r>
          </a:p>
        </p:txBody>
      </p:sp>
      <p:sp>
        <p:nvSpPr>
          <p:cNvPr id="77" name="Text Placeholder 76">
            <a:extLst>
              <a:ext uri="{FF2B5EF4-FFF2-40B4-BE49-F238E27FC236}">
                <a16:creationId xmlns:a16="http://schemas.microsoft.com/office/drawing/2014/main" id="{AAEF1F8E-D754-8A1B-DDA8-4E58FE70E63A}"/>
              </a:ext>
            </a:extLst>
          </p:cNvPr>
          <p:cNvSpPr>
            <a:spLocks noGrp="1"/>
          </p:cNvSpPr>
          <p:nvPr>
            <p:ph type="body" sz="quarter" idx="50"/>
          </p:nvPr>
        </p:nvSpPr>
        <p:spPr>
          <a:xfrm>
            <a:off x="3182890" y="4050957"/>
            <a:ext cx="2572262" cy="626701"/>
          </a:xfrm>
        </p:spPr>
        <p:txBody>
          <a:bodyPr/>
          <a:lstStyle/>
          <a:p>
            <a:r>
              <a:rPr lang="en-US" noProof="0"/>
              <a:t>Copilot drafts the weekly email to employees that includes the latest schedule and task assignments and notifies them of the recent policy changes.</a:t>
            </a:r>
          </a:p>
          <a:p>
            <a:endParaRPr lang="en-US" noProof="0"/>
          </a:p>
        </p:txBody>
      </p:sp>
      <p:sp>
        <p:nvSpPr>
          <p:cNvPr id="78" name="Text Placeholder 77">
            <a:extLst>
              <a:ext uri="{FF2B5EF4-FFF2-40B4-BE49-F238E27FC236}">
                <a16:creationId xmlns:a16="http://schemas.microsoft.com/office/drawing/2014/main" id="{537BE934-9D05-6F3E-4D6B-3313897AA391}"/>
              </a:ext>
            </a:extLst>
          </p:cNvPr>
          <p:cNvSpPr>
            <a:spLocks noGrp="1"/>
          </p:cNvSpPr>
          <p:nvPr>
            <p:ph type="body" sz="quarter" idx="51"/>
          </p:nvPr>
        </p:nvSpPr>
        <p:spPr>
          <a:xfrm>
            <a:off x="6066682" y="3725103"/>
            <a:ext cx="2572262" cy="153888"/>
          </a:xfrm>
        </p:spPr>
        <p:txBody>
          <a:bodyPr/>
          <a:lstStyle/>
          <a:p>
            <a:r>
              <a:rPr lang="en-US" noProof="0"/>
              <a:t>Identify incomplete training</a:t>
            </a:r>
          </a:p>
        </p:txBody>
      </p:sp>
      <p:sp>
        <p:nvSpPr>
          <p:cNvPr id="79" name="Text Placeholder 78">
            <a:extLst>
              <a:ext uri="{FF2B5EF4-FFF2-40B4-BE49-F238E27FC236}">
                <a16:creationId xmlns:a16="http://schemas.microsoft.com/office/drawing/2014/main" id="{5F827C86-6C32-6DD2-0128-F31EB17FBE8C}"/>
              </a:ext>
            </a:extLst>
          </p:cNvPr>
          <p:cNvSpPr>
            <a:spLocks noGrp="1"/>
          </p:cNvSpPr>
          <p:nvPr>
            <p:ph type="body" sz="quarter" idx="52"/>
          </p:nvPr>
        </p:nvSpPr>
        <p:spPr>
          <a:xfrm>
            <a:off x="6066682" y="4050957"/>
            <a:ext cx="2572262" cy="626701"/>
          </a:xfrm>
        </p:spPr>
        <p:txBody>
          <a:bodyPr/>
          <a:lstStyle/>
          <a:p>
            <a:r>
              <a:rPr lang="en-US" noProof="0"/>
              <a:t>Copilot identifies employees who have training due so reminders can be sent.</a:t>
            </a:r>
          </a:p>
          <a:p>
            <a:endParaRPr lang="en-US" noProof="0"/>
          </a:p>
        </p:txBody>
      </p:sp>
      <p:sp>
        <p:nvSpPr>
          <p:cNvPr id="31" name="Text Placeholder 30">
            <a:extLst>
              <a:ext uri="{FF2B5EF4-FFF2-40B4-BE49-F238E27FC236}">
                <a16:creationId xmlns:a16="http://schemas.microsoft.com/office/drawing/2014/main" id="{C1E25EB3-90FB-F690-CC4D-A267CEF4964C}"/>
              </a:ext>
            </a:extLst>
          </p:cNvPr>
          <p:cNvSpPr>
            <a:spLocks noGrp="1"/>
          </p:cNvSpPr>
          <p:nvPr>
            <p:ph type="body" sz="quarter" idx="66"/>
          </p:nvPr>
        </p:nvSpPr>
        <p:spPr>
          <a:xfrm>
            <a:off x="8950475" y="5334522"/>
            <a:ext cx="2572262" cy="712876"/>
          </a:xfrm>
        </p:spPr>
        <p:txBody>
          <a:bodyPr/>
          <a:lstStyle/>
          <a:p>
            <a:r>
              <a:rPr lang="en-US" noProof="0" dirty="0"/>
              <a:t>Prompt: Create an announcement based on / Policy Update Oct 1.docx pages 35–41. </a:t>
            </a:r>
          </a:p>
        </p:txBody>
      </p:sp>
      <p:sp>
        <p:nvSpPr>
          <p:cNvPr id="81" name="Text Placeholder 80">
            <a:extLst>
              <a:ext uri="{FF2B5EF4-FFF2-40B4-BE49-F238E27FC236}">
                <a16:creationId xmlns:a16="http://schemas.microsoft.com/office/drawing/2014/main" id="{CB4798A4-C69B-D264-ED07-96D37C4BC9EF}"/>
              </a:ext>
            </a:extLst>
          </p:cNvPr>
          <p:cNvSpPr>
            <a:spLocks noGrp="1"/>
          </p:cNvSpPr>
          <p:nvPr>
            <p:ph type="body" sz="quarter" idx="54"/>
          </p:nvPr>
        </p:nvSpPr>
        <p:spPr>
          <a:xfrm>
            <a:off x="8950475" y="3725103"/>
            <a:ext cx="2572262" cy="153888"/>
          </a:xfrm>
        </p:spPr>
        <p:txBody>
          <a:bodyPr/>
          <a:lstStyle/>
          <a:p>
            <a:r>
              <a:rPr lang="en-US" noProof="0"/>
              <a:t>Summarize policy changes</a:t>
            </a:r>
          </a:p>
        </p:txBody>
      </p:sp>
      <p:sp>
        <p:nvSpPr>
          <p:cNvPr id="82" name="Text Placeholder 81">
            <a:extLst>
              <a:ext uri="{FF2B5EF4-FFF2-40B4-BE49-F238E27FC236}">
                <a16:creationId xmlns:a16="http://schemas.microsoft.com/office/drawing/2014/main" id="{E56E7CB1-E1C9-4619-A9D8-A65BD371DD73}"/>
              </a:ext>
            </a:extLst>
          </p:cNvPr>
          <p:cNvSpPr>
            <a:spLocks noGrp="1"/>
          </p:cNvSpPr>
          <p:nvPr>
            <p:ph type="body" sz="quarter" idx="55"/>
          </p:nvPr>
        </p:nvSpPr>
        <p:spPr>
          <a:xfrm>
            <a:off x="8950325" y="4051300"/>
            <a:ext cx="2571750" cy="627063"/>
          </a:xfrm>
        </p:spPr>
        <p:txBody>
          <a:bodyPr/>
          <a:lstStyle/>
          <a:p>
            <a:r>
              <a:rPr lang="en-US" noProof="0"/>
              <a:t>Copilot drafts a summary of recent policy updates for distribution and posting in employee forums.</a:t>
            </a:r>
          </a:p>
          <a:p>
            <a:endParaRPr lang="en-US" noProof="0"/>
          </a:p>
        </p:txBody>
      </p:sp>
      <p:sp>
        <p:nvSpPr>
          <p:cNvPr id="63" name="Text Placeholder 62">
            <a:extLst>
              <a:ext uri="{FF2B5EF4-FFF2-40B4-BE49-F238E27FC236}">
                <a16:creationId xmlns:a16="http://schemas.microsoft.com/office/drawing/2014/main" id="{44206966-8B60-C172-D0EB-69362AC8AF2B}"/>
              </a:ext>
            </a:extLst>
          </p:cNvPr>
          <p:cNvSpPr>
            <a:spLocks noGrp="1"/>
          </p:cNvSpPr>
          <p:nvPr>
            <p:ph type="body" sz="quarter" idx="67"/>
          </p:nvPr>
        </p:nvSpPr>
        <p:spPr>
          <a:xfrm>
            <a:off x="6066682" y="5334522"/>
            <a:ext cx="2572262" cy="712876"/>
          </a:xfrm>
        </p:spPr>
        <p:txBody>
          <a:bodyPr/>
          <a:lstStyle/>
          <a:p>
            <a:r>
              <a:rPr lang="en-US" noProof="0" dirty="0"/>
              <a:t>Prompt: Create a summary of required training due for each employee. Put it in a table format including the name of the training with due dates for each employee.</a:t>
            </a:r>
          </a:p>
        </p:txBody>
      </p:sp>
      <p:sp>
        <p:nvSpPr>
          <p:cNvPr id="89" name="Text Placeholder 88">
            <a:extLst>
              <a:ext uri="{FF2B5EF4-FFF2-40B4-BE49-F238E27FC236}">
                <a16:creationId xmlns:a16="http://schemas.microsoft.com/office/drawing/2014/main" id="{D9000D1A-8869-FB9D-17AD-0F562CDDF3FD}"/>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90" name="Text Placeholder 89">
            <a:extLst>
              <a:ext uri="{FF2B5EF4-FFF2-40B4-BE49-F238E27FC236}">
                <a16:creationId xmlns:a16="http://schemas.microsoft.com/office/drawing/2014/main" id="{C819E4FC-448B-0146-BDEB-91172FDA0A6C}"/>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91" name="Group 90">
            <a:extLst>
              <a:ext uri="{FF2B5EF4-FFF2-40B4-BE49-F238E27FC236}">
                <a16:creationId xmlns:a16="http://schemas.microsoft.com/office/drawing/2014/main" id="{127DCEB4-4A35-75A4-4F29-A94556712F38}"/>
              </a:ext>
            </a:extLst>
          </p:cNvPr>
          <p:cNvGrpSpPr/>
          <p:nvPr/>
        </p:nvGrpSpPr>
        <p:grpSpPr>
          <a:xfrm>
            <a:off x="320719" y="5020658"/>
            <a:ext cx="1771605" cy="216000"/>
            <a:chOff x="320719" y="4224856"/>
            <a:chExt cx="1771605" cy="219456"/>
          </a:xfrm>
        </p:grpSpPr>
        <p:sp>
          <p:nvSpPr>
            <p:cNvPr id="92" name="Rectangle: Rounded Corners 6">
              <a:extLst>
                <a:ext uri="{FF2B5EF4-FFF2-40B4-BE49-F238E27FC236}">
                  <a16:creationId xmlns:a16="http://schemas.microsoft.com/office/drawing/2014/main" id="{C4E67BD4-9B28-88D5-2874-8817F24C535F}"/>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93" name="Graphic 92">
              <a:extLst>
                <a:ext uri="{FF2B5EF4-FFF2-40B4-BE49-F238E27FC236}">
                  <a16:creationId xmlns:a16="http://schemas.microsoft.com/office/drawing/2014/main" id="{60349824-D274-9611-F91D-A3019A7B5486}"/>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4260849"/>
              <a:ext cx="144000" cy="144000"/>
            </a:xfrm>
            <a:prstGeom prst="rect">
              <a:avLst/>
            </a:prstGeom>
          </p:spPr>
        </p:pic>
      </p:grpSp>
      <p:grpSp>
        <p:nvGrpSpPr>
          <p:cNvPr id="94" name="Group 93">
            <a:extLst>
              <a:ext uri="{FF2B5EF4-FFF2-40B4-BE49-F238E27FC236}">
                <a16:creationId xmlns:a16="http://schemas.microsoft.com/office/drawing/2014/main" id="{AB4665F9-8B02-4102-03B9-2755F7C69ACD}"/>
              </a:ext>
            </a:extLst>
          </p:cNvPr>
          <p:cNvGrpSpPr/>
          <p:nvPr/>
        </p:nvGrpSpPr>
        <p:grpSpPr>
          <a:xfrm>
            <a:off x="320721" y="5309272"/>
            <a:ext cx="1771605" cy="216000"/>
            <a:chOff x="320721" y="4517211"/>
            <a:chExt cx="1771605" cy="216000"/>
          </a:xfrm>
        </p:grpSpPr>
        <p:sp>
          <p:nvSpPr>
            <p:cNvPr id="95" name="Rectangle: Rounded Corners 6">
              <a:extLst>
                <a:ext uri="{FF2B5EF4-FFF2-40B4-BE49-F238E27FC236}">
                  <a16:creationId xmlns:a16="http://schemas.microsoft.com/office/drawing/2014/main" id="{16A0C570-3593-80BA-83A6-F58DC9A15BD6}"/>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96" name="Graphic 95">
              <a:extLst>
                <a:ext uri="{FF2B5EF4-FFF2-40B4-BE49-F238E27FC236}">
                  <a16:creationId xmlns:a16="http://schemas.microsoft.com/office/drawing/2014/main" id="{BB2AF2CD-8B93-5EAC-9AB5-969E34AAA5A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7507" y="4552645"/>
              <a:ext cx="144000" cy="141732"/>
            </a:xfrm>
            <a:prstGeom prst="rect">
              <a:avLst/>
            </a:prstGeom>
          </p:spPr>
        </p:pic>
      </p:grpSp>
      <p:grpSp>
        <p:nvGrpSpPr>
          <p:cNvPr id="97" name="Group 96">
            <a:extLst>
              <a:ext uri="{FF2B5EF4-FFF2-40B4-BE49-F238E27FC236}">
                <a16:creationId xmlns:a16="http://schemas.microsoft.com/office/drawing/2014/main" id="{07F34550-34BB-69FC-1976-9622B1998D09}"/>
              </a:ext>
            </a:extLst>
          </p:cNvPr>
          <p:cNvGrpSpPr/>
          <p:nvPr/>
        </p:nvGrpSpPr>
        <p:grpSpPr>
          <a:xfrm>
            <a:off x="320719" y="3778836"/>
            <a:ext cx="1771605" cy="216000"/>
            <a:chOff x="320719" y="4224856"/>
            <a:chExt cx="1771605" cy="219456"/>
          </a:xfrm>
        </p:grpSpPr>
        <p:sp>
          <p:nvSpPr>
            <p:cNvPr id="98" name="Rectangle: Rounded Corners 6">
              <a:extLst>
                <a:ext uri="{FF2B5EF4-FFF2-40B4-BE49-F238E27FC236}">
                  <a16:creationId xmlns:a16="http://schemas.microsoft.com/office/drawing/2014/main" id="{A07A911D-D522-4F56-8836-F2030CFD9EE3}"/>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99" name="Graphic 98">
              <a:extLst>
                <a:ext uri="{FF2B5EF4-FFF2-40B4-BE49-F238E27FC236}">
                  <a16:creationId xmlns:a16="http://schemas.microsoft.com/office/drawing/2014/main" id="{7C8FF7C0-8B6F-2829-3ADB-1F9634677BE7}"/>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67506" y="4260849"/>
              <a:ext cx="144000" cy="144000"/>
            </a:xfrm>
            <a:prstGeom prst="rect">
              <a:avLst/>
            </a:prstGeom>
          </p:spPr>
        </p:pic>
      </p:grpSp>
      <p:grpSp>
        <p:nvGrpSpPr>
          <p:cNvPr id="100" name="Group 99">
            <a:extLst>
              <a:ext uri="{FF2B5EF4-FFF2-40B4-BE49-F238E27FC236}">
                <a16:creationId xmlns:a16="http://schemas.microsoft.com/office/drawing/2014/main" id="{7555A817-C89E-441B-FA56-35C147420BFC}"/>
              </a:ext>
            </a:extLst>
          </p:cNvPr>
          <p:cNvGrpSpPr/>
          <p:nvPr/>
        </p:nvGrpSpPr>
        <p:grpSpPr>
          <a:xfrm>
            <a:off x="320721" y="4067450"/>
            <a:ext cx="1771605" cy="216000"/>
            <a:chOff x="320721" y="4517211"/>
            <a:chExt cx="1771605" cy="216000"/>
          </a:xfrm>
        </p:grpSpPr>
        <p:sp>
          <p:nvSpPr>
            <p:cNvPr id="101" name="Rectangle: Rounded Corners 6">
              <a:extLst>
                <a:ext uri="{FF2B5EF4-FFF2-40B4-BE49-F238E27FC236}">
                  <a16:creationId xmlns:a16="http://schemas.microsoft.com/office/drawing/2014/main" id="{F3670735-072A-05CB-1B8A-1523B8B213DD}"/>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ustomer satisfaction</a:t>
              </a:r>
            </a:p>
          </p:txBody>
        </p:sp>
        <p:pic>
          <p:nvPicPr>
            <p:cNvPr id="102" name="Graphic 101">
              <a:extLst>
                <a:ext uri="{FF2B5EF4-FFF2-40B4-BE49-F238E27FC236}">
                  <a16:creationId xmlns:a16="http://schemas.microsoft.com/office/drawing/2014/main" id="{CC492E1A-C7D6-EA53-60CE-604C72B42D4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7507" y="4552645"/>
              <a:ext cx="144000" cy="141732"/>
            </a:xfrm>
            <a:prstGeom prst="rect">
              <a:avLst/>
            </a:prstGeom>
          </p:spPr>
        </p:pic>
      </p:grpSp>
      <p:grpSp>
        <p:nvGrpSpPr>
          <p:cNvPr id="103" name="Group 102">
            <a:extLst>
              <a:ext uri="{FF2B5EF4-FFF2-40B4-BE49-F238E27FC236}">
                <a16:creationId xmlns:a16="http://schemas.microsoft.com/office/drawing/2014/main" id="{B7344782-0586-BF81-18CE-5DC2B50A979F}"/>
              </a:ext>
            </a:extLst>
          </p:cNvPr>
          <p:cNvGrpSpPr/>
          <p:nvPr/>
        </p:nvGrpSpPr>
        <p:grpSpPr>
          <a:xfrm>
            <a:off x="320719" y="4356602"/>
            <a:ext cx="1771605" cy="216000"/>
            <a:chOff x="320719" y="4224856"/>
            <a:chExt cx="1771605" cy="219456"/>
          </a:xfrm>
        </p:grpSpPr>
        <p:sp>
          <p:nvSpPr>
            <p:cNvPr id="104" name="Rectangle: Rounded Corners 6">
              <a:extLst>
                <a:ext uri="{FF2B5EF4-FFF2-40B4-BE49-F238E27FC236}">
                  <a16:creationId xmlns:a16="http://schemas.microsoft.com/office/drawing/2014/main" id="{AEEF07F3-28D3-8F01-F075-5F316CF7E55E}"/>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Employee churn</a:t>
              </a:r>
            </a:p>
          </p:txBody>
        </p:sp>
        <p:pic>
          <p:nvPicPr>
            <p:cNvPr id="105" name="Graphic 104">
              <a:extLst>
                <a:ext uri="{FF2B5EF4-FFF2-40B4-BE49-F238E27FC236}">
                  <a16:creationId xmlns:a16="http://schemas.microsoft.com/office/drawing/2014/main" id="{0BBB67DE-FF42-5458-25D7-3F39809F1AD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67506" y="4260849"/>
              <a:ext cx="144000" cy="144000"/>
            </a:xfrm>
            <a:prstGeom prst="rect">
              <a:avLst/>
            </a:prstGeom>
          </p:spPr>
        </p:pic>
      </p:grpSp>
      <p:pic>
        <p:nvPicPr>
          <p:cNvPr id="1038" name="Graphic 1037">
            <a:extLst>
              <a:ext uri="{FF2B5EF4-FFF2-40B4-BE49-F238E27FC236}">
                <a16:creationId xmlns:a16="http://schemas.microsoft.com/office/drawing/2014/main" id="{C4549312-18E3-752A-9A29-508A56CD1413}"/>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6818" b="-6818"/>
          <a:stretch/>
        </p:blipFill>
        <p:spPr>
          <a:xfrm>
            <a:off x="9237999" y="4829399"/>
            <a:ext cx="237610" cy="237610"/>
          </a:xfrm>
          <a:prstGeom prst="rect">
            <a:avLst/>
          </a:prstGeom>
        </p:spPr>
      </p:pic>
      <p:sp>
        <p:nvSpPr>
          <p:cNvPr id="71" name="TextBox 70">
            <a:extLst>
              <a:ext uri="{FF2B5EF4-FFF2-40B4-BE49-F238E27FC236}">
                <a16:creationId xmlns:a16="http://schemas.microsoft.com/office/drawing/2014/main" id="{DD79CD9F-FF8E-7DF5-09DD-D8BC8BBB7399}"/>
              </a:ext>
              <a:ext uri="{C183D7F6-B498-43B3-948B-1728B52AA6E4}">
                <adec:decorative xmlns:adec="http://schemas.microsoft.com/office/drawing/2017/decorative" val="0"/>
              </a:ext>
            </a:extLst>
          </p:cNvPr>
          <p:cNvSpPr txBox="1"/>
          <p:nvPr/>
        </p:nvSpPr>
        <p:spPr>
          <a:xfrm>
            <a:off x="6640490"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2</a:t>
            </a:r>
          </a:p>
        </p:txBody>
      </p:sp>
      <p:pic>
        <p:nvPicPr>
          <p:cNvPr id="72" name="Picture 50">
            <a:hlinkClick r:id="rId11"/>
            <a:extLst>
              <a:ext uri="{FF2B5EF4-FFF2-40B4-BE49-F238E27FC236}">
                <a16:creationId xmlns:a16="http://schemas.microsoft.com/office/drawing/2014/main" id="{B607B8E7-3103-EDE8-84CB-F770102B675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261888" y="2207040"/>
            <a:ext cx="242374" cy="24237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50">
            <a:hlinkClick r:id="rId11"/>
            <a:extLst>
              <a:ext uri="{FF2B5EF4-FFF2-40B4-BE49-F238E27FC236}">
                <a16:creationId xmlns:a16="http://schemas.microsoft.com/office/drawing/2014/main" id="{4583AD83-62BE-D472-7890-F7AB685F52C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470612" y="4827017"/>
            <a:ext cx="242374" cy="242374"/>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6" descr="Microsoft Teams Logo, symbol, meaning, history, PNG, brand">
            <a:extLst>
              <a:ext uri="{FF2B5EF4-FFF2-40B4-BE49-F238E27FC236}">
                <a16:creationId xmlns:a16="http://schemas.microsoft.com/office/drawing/2014/main" id="{75DE6BB8-2B50-03A2-8E19-D8AE7E30836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9049" r="19049"/>
          <a:stretch/>
        </p:blipFill>
        <p:spPr bwMode="auto">
          <a:xfrm>
            <a:off x="6355099" y="4836543"/>
            <a:ext cx="245612" cy="223322"/>
          </a:xfrm>
          <a:prstGeom prst="rect">
            <a:avLst/>
          </a:prstGeom>
          <a:noFill/>
          <a:extLst>
            <a:ext uri="{909E8E84-426E-40DD-AFC4-6F175D3DCCD1}">
              <a14:hiddenFill xmlns:a14="http://schemas.microsoft.com/office/drawing/2010/main">
                <a:solidFill>
                  <a:srgbClr val="FFFFFF"/>
                </a:solidFill>
              </a14:hiddenFill>
            </a:ext>
          </a:extLst>
        </p:spPr>
      </p:pic>
      <p:sp>
        <p:nvSpPr>
          <p:cNvPr id="85" name="TextBox 84">
            <a:extLst>
              <a:ext uri="{FF2B5EF4-FFF2-40B4-BE49-F238E27FC236}">
                <a16:creationId xmlns:a16="http://schemas.microsoft.com/office/drawing/2014/main" id="{65697699-F8E9-D16A-5A18-CE78F9F0937B}"/>
              </a:ext>
              <a:ext uri="{C183D7F6-B498-43B3-948B-1728B52AA6E4}">
                <adec:decorative xmlns:adec="http://schemas.microsoft.com/office/drawing/2017/decorative" val="0"/>
              </a:ext>
            </a:extLst>
          </p:cNvPr>
          <p:cNvSpPr txBox="1"/>
          <p:nvPr/>
        </p:nvSpPr>
        <p:spPr>
          <a:xfrm>
            <a:off x="3840126" y="4785360"/>
            <a:ext cx="1490793"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sp>
        <p:nvSpPr>
          <p:cNvPr id="86" name="TextBox 85">
            <a:extLst>
              <a:ext uri="{FF2B5EF4-FFF2-40B4-BE49-F238E27FC236}">
                <a16:creationId xmlns:a16="http://schemas.microsoft.com/office/drawing/2014/main" id="{6E335A67-042D-8299-BE79-38606FDCFDBF}"/>
              </a:ext>
              <a:ext uri="{C183D7F6-B498-43B3-948B-1728B52AA6E4}">
                <adec:decorative xmlns:adec="http://schemas.microsoft.com/office/drawing/2017/decorative" val="0"/>
              </a:ext>
            </a:extLst>
          </p:cNvPr>
          <p:cNvSpPr txBox="1"/>
          <p:nvPr/>
        </p:nvSpPr>
        <p:spPr>
          <a:xfrm>
            <a:off x="6732958" y="4785360"/>
            <a:ext cx="1830524"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sp>
        <p:nvSpPr>
          <p:cNvPr id="87" name="TextBox 86">
            <a:extLst>
              <a:ext uri="{FF2B5EF4-FFF2-40B4-BE49-F238E27FC236}">
                <a16:creationId xmlns:a16="http://schemas.microsoft.com/office/drawing/2014/main" id="{D64E5A7E-F8DF-3D99-D92E-E43D94D813C8}"/>
              </a:ext>
              <a:ext uri="{C183D7F6-B498-43B3-948B-1728B52AA6E4}">
                <adec:decorative xmlns:adec="http://schemas.microsoft.com/office/drawing/2017/decorative" val="0"/>
              </a:ext>
            </a:extLst>
          </p:cNvPr>
          <p:cNvSpPr txBox="1"/>
          <p:nvPr/>
        </p:nvSpPr>
        <p:spPr>
          <a:xfrm>
            <a:off x="9616751" y="4785360"/>
            <a:ext cx="1830524"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Word</a:t>
            </a:r>
          </a:p>
        </p:txBody>
      </p:sp>
      <p:sp>
        <p:nvSpPr>
          <p:cNvPr id="3" name="TextBox 2">
            <a:extLst>
              <a:ext uri="{FF2B5EF4-FFF2-40B4-BE49-F238E27FC236}">
                <a16:creationId xmlns:a16="http://schemas.microsoft.com/office/drawing/2014/main" id="{98E29214-B306-FA53-75CD-43A1E883F0E8}"/>
              </a:ext>
              <a:ext uri="{C183D7F6-B498-43B3-948B-1728B52AA6E4}">
                <adec:decorative xmlns:adec="http://schemas.microsoft.com/office/drawing/2017/decorative" val="0"/>
              </a:ext>
            </a:extLst>
          </p:cNvPr>
          <p:cNvSpPr txBox="1"/>
          <p:nvPr/>
        </p:nvSpPr>
        <p:spPr>
          <a:xfrm>
            <a:off x="9515089" y="225900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4" name="Picture 50">
            <a:hlinkClick r:id="rId11"/>
            <a:extLst>
              <a:ext uri="{FF2B5EF4-FFF2-40B4-BE49-F238E27FC236}">
                <a16:creationId xmlns:a16="http://schemas.microsoft.com/office/drawing/2014/main" id="{02A76E76-F827-3743-7154-63FC95A5588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136487" y="221476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31A5A94C-4F04-9988-819D-3877375E14F4}"/>
              </a:ext>
              <a:ext uri="{C183D7F6-B498-43B3-948B-1728B52AA6E4}">
                <adec:decorative xmlns:adec="http://schemas.microsoft.com/office/drawing/2017/decorative" val="0"/>
              </a:ext>
            </a:extLst>
          </p:cNvPr>
          <p:cNvSpPr txBox="1"/>
          <p:nvPr/>
        </p:nvSpPr>
        <p:spPr>
          <a:xfrm>
            <a:off x="3804309" y="2249747"/>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6" name="Picture 50">
            <a:hlinkClick r:id="rId11"/>
            <a:extLst>
              <a:ext uri="{FF2B5EF4-FFF2-40B4-BE49-F238E27FC236}">
                <a16:creationId xmlns:a16="http://schemas.microsoft.com/office/drawing/2014/main" id="{F113F89C-D4C2-56BE-7F29-27B22C25FFA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425707" y="2205504"/>
            <a:ext cx="242374" cy="242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326811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AD8CBB-C8A5-C421-6520-F7F7AAAA3ABB}"/>
            </a:ext>
          </a:extLst>
        </p:cNvPr>
        <p:cNvGrpSpPr/>
        <p:nvPr/>
      </p:nvGrpSpPr>
      <p:grpSpPr>
        <a:xfrm>
          <a:off x="0" y="0"/>
          <a:ext cx="0" cy="0"/>
          <a:chOff x="0" y="0"/>
          <a:chExt cx="0" cy="0"/>
        </a:xfrm>
      </p:grpSpPr>
      <p:sp>
        <p:nvSpPr>
          <p:cNvPr id="22" name="Text Placeholder 21">
            <a:extLst>
              <a:ext uri="{FF2B5EF4-FFF2-40B4-BE49-F238E27FC236}">
                <a16:creationId xmlns:a16="http://schemas.microsoft.com/office/drawing/2014/main" id="{CBF3C670-B43C-7275-AB6C-4C56E51289DF}"/>
              </a:ext>
            </a:extLst>
          </p:cNvPr>
          <p:cNvSpPr>
            <a:spLocks noGrp="1"/>
          </p:cNvSpPr>
          <p:nvPr>
            <p:ph type="body" sz="quarter" idx="42"/>
          </p:nvPr>
        </p:nvSpPr>
        <p:spPr>
          <a:xfrm>
            <a:off x="311388" y="1026303"/>
            <a:ext cx="2431246" cy="1131079"/>
          </a:xfrm>
        </p:spPr>
        <p:txBody>
          <a:bodyPr/>
          <a:lstStyle/>
          <a:p>
            <a:r>
              <a:rPr lang="en-US" noProof="0" dirty="0"/>
              <a:t>Use AI to deliver</a:t>
            </a:r>
            <a:r>
              <a:rPr lang="en-US" dirty="0"/>
              <a:t> information to store associated to improve customer service and store operations.</a:t>
            </a:r>
          </a:p>
          <a:p>
            <a:endParaRPr lang="en-US" noProof="0" dirty="0"/>
          </a:p>
          <a:p>
            <a:r>
              <a:rPr kumimoji="0" lang="en-US" sz="1050" b="0" i="0" u="none" strike="noStrike" kern="1200" cap="none" spc="0" normalizeH="0" baseline="0" noProof="0" dirty="0">
                <a:ln>
                  <a:noFill/>
                </a:ln>
                <a:solidFill>
                  <a:srgbClr val="000000"/>
                </a:solidFill>
                <a:effectLst/>
                <a:uLnTx/>
                <a:uFillTx/>
                <a:latin typeface="Segoe UI Semibold"/>
                <a:ea typeface="+mn-ea"/>
                <a:cs typeface="+mn-cs"/>
              </a:rPr>
              <a:t>Implementation information: </a:t>
            </a:r>
            <a:r>
              <a:rPr kumimoji="0" lang="en-US" sz="1050" b="0" i="0" u="none" strike="noStrike" kern="1200" cap="none" spc="0" normalizeH="0" baseline="0" noProof="0" dirty="0">
                <a:ln>
                  <a:noFill/>
                </a:ln>
                <a:solidFill>
                  <a:srgbClr val="000000"/>
                </a:solidFill>
                <a:effectLst/>
                <a:uLnTx/>
                <a:uFillTx/>
                <a:latin typeface="Segoe UI"/>
                <a:ea typeface="+mn-ea"/>
                <a:cs typeface="+mn-cs"/>
                <a:hlinkClick r:id="rId3"/>
              </a:rPr>
              <a:t>Copilot Studio Store Operations Agent</a:t>
            </a: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a:p>
            <a:endParaRPr lang="en-US" noProof="0" dirty="0"/>
          </a:p>
        </p:txBody>
      </p:sp>
      <p:sp>
        <p:nvSpPr>
          <p:cNvPr id="77" name="Text Placeholder 76">
            <a:extLst>
              <a:ext uri="{FF2B5EF4-FFF2-40B4-BE49-F238E27FC236}">
                <a16:creationId xmlns:a16="http://schemas.microsoft.com/office/drawing/2014/main" id="{6E96306A-6EE1-52AE-E0C3-C5EC86401F43}"/>
              </a:ext>
            </a:extLst>
          </p:cNvPr>
          <p:cNvSpPr>
            <a:spLocks noGrp="1"/>
          </p:cNvSpPr>
          <p:nvPr>
            <p:ph type="body" sz="quarter" idx="43"/>
          </p:nvPr>
        </p:nvSpPr>
        <p:spPr>
          <a:xfrm>
            <a:off x="10430351" y="521099"/>
            <a:ext cx="1456966" cy="175614"/>
          </a:xfrm>
        </p:spPr>
        <p:txBody>
          <a:bodyPr/>
          <a:lstStyle/>
          <a:p>
            <a:r>
              <a:rPr lang="en-US" noProof="0"/>
              <a:t>Build</a:t>
            </a:r>
          </a:p>
        </p:txBody>
      </p:sp>
      <p:sp>
        <p:nvSpPr>
          <p:cNvPr id="79" name="Text Placeholder 78">
            <a:extLst>
              <a:ext uri="{FF2B5EF4-FFF2-40B4-BE49-F238E27FC236}">
                <a16:creationId xmlns:a16="http://schemas.microsoft.com/office/drawing/2014/main" id="{ED59742E-7E68-2DF9-85CC-A6E1D0DDD893}"/>
              </a:ext>
            </a:extLst>
          </p:cNvPr>
          <p:cNvSpPr>
            <a:spLocks noGrp="1"/>
          </p:cNvSpPr>
          <p:nvPr>
            <p:ph type="body" sz="quarter" idx="44"/>
          </p:nvPr>
        </p:nvSpPr>
        <p:spPr>
          <a:xfrm>
            <a:off x="7149557" y="521100"/>
            <a:ext cx="2969488" cy="169277"/>
          </a:xfrm>
        </p:spPr>
        <p:txBody>
          <a:bodyPr/>
          <a:lstStyle/>
          <a:p>
            <a:r>
              <a:rPr lang="en-US" noProof="0"/>
              <a:t>Copilot Studio</a:t>
            </a:r>
          </a:p>
        </p:txBody>
      </p:sp>
      <p:sp>
        <p:nvSpPr>
          <p:cNvPr id="23" name="Text Placeholder 22">
            <a:extLst>
              <a:ext uri="{FF2B5EF4-FFF2-40B4-BE49-F238E27FC236}">
                <a16:creationId xmlns:a16="http://schemas.microsoft.com/office/drawing/2014/main" id="{C0981389-AEB8-99EC-9B3D-F693B366220F}"/>
              </a:ext>
            </a:extLst>
          </p:cNvPr>
          <p:cNvSpPr>
            <a:spLocks noGrp="1"/>
          </p:cNvSpPr>
          <p:nvPr>
            <p:ph type="body" sz="quarter" idx="46"/>
          </p:nvPr>
        </p:nvSpPr>
        <p:spPr>
          <a:xfrm>
            <a:off x="3182889" y="2725494"/>
            <a:ext cx="2572262" cy="712876"/>
          </a:xfrm>
        </p:spPr>
        <p:txBody>
          <a:bodyPr/>
          <a:lstStyle/>
          <a:p>
            <a:r>
              <a:rPr lang="en-US"/>
              <a:t>Benefit: </a:t>
            </a:r>
            <a:r>
              <a:rPr lang="en-US">
                <a:latin typeface="+mj-lt"/>
              </a:rPr>
              <a:t>Quickly finds accurate answers </a:t>
            </a:r>
            <a:r>
              <a:rPr lang="en-US"/>
              <a:t>to customer questions in the flow of work.</a:t>
            </a:r>
          </a:p>
        </p:txBody>
      </p:sp>
      <p:sp>
        <p:nvSpPr>
          <p:cNvPr id="84" name="Text Placeholder 83">
            <a:extLst>
              <a:ext uri="{FF2B5EF4-FFF2-40B4-BE49-F238E27FC236}">
                <a16:creationId xmlns:a16="http://schemas.microsoft.com/office/drawing/2014/main" id="{1DD720D1-8DE8-C51E-0517-E8A2E66A63BA}"/>
              </a:ext>
            </a:extLst>
          </p:cNvPr>
          <p:cNvSpPr>
            <a:spLocks noGrp="1"/>
          </p:cNvSpPr>
          <p:nvPr>
            <p:ph type="body" sz="quarter" idx="47"/>
          </p:nvPr>
        </p:nvSpPr>
        <p:spPr>
          <a:xfrm>
            <a:off x="3182890" y="1112478"/>
            <a:ext cx="2572262" cy="153888"/>
          </a:xfrm>
        </p:spPr>
        <p:txBody>
          <a:bodyPr/>
          <a:lstStyle/>
          <a:p>
            <a:r>
              <a:rPr lang="en-US" noProof="0"/>
              <a:t>Find product info for customer</a:t>
            </a:r>
          </a:p>
        </p:txBody>
      </p:sp>
      <p:sp>
        <p:nvSpPr>
          <p:cNvPr id="85" name="Text Placeholder 84">
            <a:extLst>
              <a:ext uri="{FF2B5EF4-FFF2-40B4-BE49-F238E27FC236}">
                <a16:creationId xmlns:a16="http://schemas.microsoft.com/office/drawing/2014/main" id="{0AECC468-F1DF-8499-56A8-4FBBA42DA299}"/>
              </a:ext>
            </a:extLst>
          </p:cNvPr>
          <p:cNvSpPr>
            <a:spLocks noGrp="1"/>
          </p:cNvSpPr>
          <p:nvPr>
            <p:ph type="body" sz="quarter" idx="48"/>
          </p:nvPr>
        </p:nvSpPr>
        <p:spPr>
          <a:xfrm>
            <a:off x="3182890" y="1438715"/>
            <a:ext cx="2572262" cy="626701"/>
          </a:xfrm>
        </p:spPr>
        <p:txBody>
          <a:bodyPr/>
          <a:lstStyle/>
          <a:p>
            <a:r>
              <a:rPr lang="en-US" noProof="0"/>
              <a:t>Ask the Copilot agent to find product specifications. Copilot surfaces information from designated store documentation.</a:t>
            </a:r>
          </a:p>
          <a:p>
            <a:endParaRPr lang="en-US" noProof="0"/>
          </a:p>
        </p:txBody>
      </p:sp>
      <p:sp>
        <p:nvSpPr>
          <p:cNvPr id="86" name="Text Placeholder 85">
            <a:extLst>
              <a:ext uri="{FF2B5EF4-FFF2-40B4-BE49-F238E27FC236}">
                <a16:creationId xmlns:a16="http://schemas.microsoft.com/office/drawing/2014/main" id="{0EF3FD7B-209D-B00A-44A4-414F607B4F37}"/>
              </a:ext>
            </a:extLst>
          </p:cNvPr>
          <p:cNvSpPr>
            <a:spLocks noGrp="1"/>
          </p:cNvSpPr>
          <p:nvPr>
            <p:ph type="body" sz="quarter" idx="49"/>
          </p:nvPr>
        </p:nvSpPr>
        <p:spPr>
          <a:xfrm>
            <a:off x="6066682" y="1112478"/>
            <a:ext cx="2572262" cy="153888"/>
          </a:xfrm>
        </p:spPr>
        <p:txBody>
          <a:bodyPr/>
          <a:lstStyle/>
          <a:p>
            <a:r>
              <a:rPr lang="en-US" noProof="0"/>
              <a:t>Access customer order details</a:t>
            </a:r>
          </a:p>
        </p:txBody>
      </p:sp>
      <p:sp>
        <p:nvSpPr>
          <p:cNvPr id="87" name="Text Placeholder 86">
            <a:extLst>
              <a:ext uri="{FF2B5EF4-FFF2-40B4-BE49-F238E27FC236}">
                <a16:creationId xmlns:a16="http://schemas.microsoft.com/office/drawing/2014/main" id="{1DB5A7E7-C601-545B-C11C-C753536AB6E8}"/>
              </a:ext>
            </a:extLst>
          </p:cNvPr>
          <p:cNvSpPr>
            <a:spLocks noGrp="1"/>
          </p:cNvSpPr>
          <p:nvPr>
            <p:ph type="body" sz="quarter" idx="50"/>
          </p:nvPr>
        </p:nvSpPr>
        <p:spPr>
          <a:xfrm>
            <a:off x="6066682" y="1438715"/>
            <a:ext cx="2572262" cy="626701"/>
          </a:xfrm>
        </p:spPr>
        <p:txBody>
          <a:bodyPr/>
          <a:lstStyle/>
          <a:p>
            <a:r>
              <a:rPr lang="en-US" noProof="0"/>
              <a:t>Associates can use Copilot to access the relevant details from the order management system in real time and provide immediate answers quickly.</a:t>
            </a:r>
          </a:p>
          <a:p>
            <a:endParaRPr lang="en-US" noProof="0"/>
          </a:p>
        </p:txBody>
      </p:sp>
      <p:sp>
        <p:nvSpPr>
          <p:cNvPr id="91" name="Text Placeholder 90">
            <a:extLst>
              <a:ext uri="{FF2B5EF4-FFF2-40B4-BE49-F238E27FC236}">
                <a16:creationId xmlns:a16="http://schemas.microsoft.com/office/drawing/2014/main" id="{17A018FA-8F4F-4E07-0B69-270A454DBCD3}"/>
              </a:ext>
            </a:extLst>
          </p:cNvPr>
          <p:cNvSpPr>
            <a:spLocks noGrp="1"/>
          </p:cNvSpPr>
          <p:nvPr>
            <p:ph type="body" sz="quarter" idx="67"/>
          </p:nvPr>
        </p:nvSpPr>
        <p:spPr>
          <a:xfrm>
            <a:off x="8950475" y="2725494"/>
            <a:ext cx="2572262" cy="712876"/>
          </a:xfrm>
        </p:spPr>
        <p:txBody>
          <a:bodyPr/>
          <a:lstStyle/>
          <a:p>
            <a:r>
              <a:rPr lang="en-US" noProof="0" dirty="0"/>
              <a:t>Benefit: </a:t>
            </a:r>
            <a:r>
              <a:rPr lang="en-US" dirty="0">
                <a:latin typeface="+mj-lt"/>
              </a:rPr>
              <a:t>Drive efficient issue resolution </a:t>
            </a:r>
            <a:r>
              <a:rPr lang="en-US" noProof="0" dirty="0"/>
              <a:t>with easy task creation and assignment to co-workers or functional groups within the store.</a:t>
            </a:r>
          </a:p>
        </p:txBody>
      </p:sp>
      <p:sp>
        <p:nvSpPr>
          <p:cNvPr id="89" name="Text Placeholder 88">
            <a:extLst>
              <a:ext uri="{FF2B5EF4-FFF2-40B4-BE49-F238E27FC236}">
                <a16:creationId xmlns:a16="http://schemas.microsoft.com/office/drawing/2014/main" id="{ABAA5ED7-8956-7885-BFE9-B781B4BB0096}"/>
              </a:ext>
            </a:extLst>
          </p:cNvPr>
          <p:cNvSpPr>
            <a:spLocks noGrp="1"/>
          </p:cNvSpPr>
          <p:nvPr>
            <p:ph type="body" sz="quarter" idx="52"/>
          </p:nvPr>
        </p:nvSpPr>
        <p:spPr>
          <a:xfrm>
            <a:off x="8950475" y="1112478"/>
            <a:ext cx="2572262" cy="153888"/>
          </a:xfrm>
        </p:spPr>
        <p:txBody>
          <a:bodyPr/>
          <a:lstStyle/>
          <a:p>
            <a:r>
              <a:rPr lang="en-US" noProof="0"/>
              <a:t>Task management</a:t>
            </a:r>
          </a:p>
        </p:txBody>
      </p:sp>
      <p:sp>
        <p:nvSpPr>
          <p:cNvPr id="90" name="Text Placeholder 89">
            <a:extLst>
              <a:ext uri="{FF2B5EF4-FFF2-40B4-BE49-F238E27FC236}">
                <a16:creationId xmlns:a16="http://schemas.microsoft.com/office/drawing/2014/main" id="{1E1AD2F0-BE13-68EB-4579-19FC3105C3DB}"/>
              </a:ext>
            </a:extLst>
          </p:cNvPr>
          <p:cNvSpPr>
            <a:spLocks noGrp="1"/>
          </p:cNvSpPr>
          <p:nvPr>
            <p:ph type="body" sz="quarter" idx="53"/>
          </p:nvPr>
        </p:nvSpPr>
        <p:spPr>
          <a:xfrm>
            <a:off x="8950475" y="1438715"/>
            <a:ext cx="2572262" cy="626701"/>
          </a:xfrm>
        </p:spPr>
        <p:txBody>
          <a:bodyPr/>
          <a:lstStyle/>
          <a:p>
            <a:r>
              <a:rPr lang="en-US" noProof="0"/>
              <a:t>After helping the customer, review required daily tasks. Create and assign tasks to co-workers for immediate attention.</a:t>
            </a:r>
          </a:p>
          <a:p>
            <a:endParaRPr lang="en-US" noProof="0"/>
          </a:p>
        </p:txBody>
      </p:sp>
      <p:sp>
        <p:nvSpPr>
          <p:cNvPr id="88" name="Text Placeholder 87">
            <a:extLst>
              <a:ext uri="{FF2B5EF4-FFF2-40B4-BE49-F238E27FC236}">
                <a16:creationId xmlns:a16="http://schemas.microsoft.com/office/drawing/2014/main" id="{D1B7A27F-E0B7-B50B-5B9D-CEC527836B52}"/>
              </a:ext>
            </a:extLst>
          </p:cNvPr>
          <p:cNvSpPr>
            <a:spLocks noGrp="1"/>
          </p:cNvSpPr>
          <p:nvPr>
            <p:ph type="body" sz="quarter" idx="66"/>
          </p:nvPr>
        </p:nvSpPr>
        <p:spPr>
          <a:xfrm>
            <a:off x="6066682" y="2725494"/>
            <a:ext cx="2572262" cy="712876"/>
          </a:xfrm>
        </p:spPr>
        <p:txBody>
          <a:bodyPr/>
          <a:lstStyle/>
          <a:p>
            <a:r>
              <a:rPr lang="en-US" noProof="0"/>
              <a:t>Benefit: </a:t>
            </a:r>
            <a:r>
              <a:rPr lang="en-US">
                <a:latin typeface="+mj-lt"/>
              </a:rPr>
              <a:t>Save critical time spent searching for information</a:t>
            </a:r>
            <a:r>
              <a:rPr lang="en-US" noProof="0"/>
              <a:t> across different applications.</a:t>
            </a:r>
          </a:p>
        </p:txBody>
      </p:sp>
      <p:sp>
        <p:nvSpPr>
          <p:cNvPr id="92" name="Text Placeholder 91">
            <a:extLst>
              <a:ext uri="{FF2B5EF4-FFF2-40B4-BE49-F238E27FC236}">
                <a16:creationId xmlns:a16="http://schemas.microsoft.com/office/drawing/2014/main" id="{A53EBEDA-0DEF-E938-5A2B-00096199B539}"/>
              </a:ext>
            </a:extLst>
          </p:cNvPr>
          <p:cNvSpPr>
            <a:spLocks noGrp="1"/>
          </p:cNvSpPr>
          <p:nvPr>
            <p:ph type="body" sz="quarter" idx="58"/>
          </p:nvPr>
        </p:nvSpPr>
        <p:spPr>
          <a:xfrm>
            <a:off x="4036409" y="3725103"/>
            <a:ext cx="3161734" cy="153888"/>
          </a:xfrm>
        </p:spPr>
        <p:txBody>
          <a:bodyPr/>
          <a:lstStyle/>
          <a:p>
            <a:r>
              <a:rPr lang="en-US" noProof="0"/>
              <a:t>View company policies and procedures</a:t>
            </a:r>
          </a:p>
        </p:txBody>
      </p:sp>
      <p:sp>
        <p:nvSpPr>
          <p:cNvPr id="93" name="Text Placeholder 92">
            <a:extLst>
              <a:ext uri="{FF2B5EF4-FFF2-40B4-BE49-F238E27FC236}">
                <a16:creationId xmlns:a16="http://schemas.microsoft.com/office/drawing/2014/main" id="{48C7EFE9-D08A-F7E5-4502-5B12376D44BB}"/>
              </a:ext>
            </a:extLst>
          </p:cNvPr>
          <p:cNvSpPr>
            <a:spLocks noGrp="1"/>
          </p:cNvSpPr>
          <p:nvPr>
            <p:ph type="body" sz="quarter" idx="59"/>
          </p:nvPr>
        </p:nvSpPr>
        <p:spPr>
          <a:xfrm>
            <a:off x="4037013" y="4051300"/>
            <a:ext cx="3160712" cy="627063"/>
          </a:xfrm>
        </p:spPr>
        <p:txBody>
          <a:bodyPr/>
          <a:lstStyle/>
          <a:p>
            <a:r>
              <a:rPr lang="en-US" noProof="0"/>
              <a:t>Use Copilot to quickly find up-to-date store policies and procedures to handle your operations activities.</a:t>
            </a:r>
          </a:p>
          <a:p>
            <a:endParaRPr lang="en-US" noProof="0"/>
          </a:p>
        </p:txBody>
      </p:sp>
      <p:sp>
        <p:nvSpPr>
          <p:cNvPr id="97" name="Text Placeholder 96">
            <a:extLst>
              <a:ext uri="{FF2B5EF4-FFF2-40B4-BE49-F238E27FC236}">
                <a16:creationId xmlns:a16="http://schemas.microsoft.com/office/drawing/2014/main" id="{23E44074-E0DA-CCFC-5102-86B68F062BE5}"/>
              </a:ext>
            </a:extLst>
          </p:cNvPr>
          <p:cNvSpPr>
            <a:spLocks noGrp="1"/>
          </p:cNvSpPr>
          <p:nvPr>
            <p:ph type="body" sz="quarter" idx="69"/>
          </p:nvPr>
        </p:nvSpPr>
        <p:spPr>
          <a:xfrm>
            <a:off x="7507483" y="5338502"/>
            <a:ext cx="3161734" cy="712876"/>
          </a:xfrm>
        </p:spPr>
        <p:txBody>
          <a:bodyPr/>
          <a:lstStyle/>
          <a:p>
            <a:r>
              <a:rPr lang="en-US" noProof="0"/>
              <a:t>Benefit: </a:t>
            </a:r>
            <a:r>
              <a:rPr lang="en-US">
                <a:latin typeface="+mj-lt"/>
              </a:rPr>
              <a:t>Save time switching applications </a:t>
            </a:r>
            <a:r>
              <a:rPr lang="en-US" noProof="0"/>
              <a:t>and manage your incidents from a single interface using natural language.</a:t>
            </a:r>
          </a:p>
        </p:txBody>
      </p:sp>
      <p:sp>
        <p:nvSpPr>
          <p:cNvPr id="95" name="Text Placeholder 94">
            <a:extLst>
              <a:ext uri="{FF2B5EF4-FFF2-40B4-BE49-F238E27FC236}">
                <a16:creationId xmlns:a16="http://schemas.microsoft.com/office/drawing/2014/main" id="{E914D977-DE27-BC7B-963E-DF12B93C33DA}"/>
              </a:ext>
            </a:extLst>
          </p:cNvPr>
          <p:cNvSpPr>
            <a:spLocks noGrp="1"/>
          </p:cNvSpPr>
          <p:nvPr>
            <p:ph type="body" sz="quarter" idx="61"/>
          </p:nvPr>
        </p:nvSpPr>
        <p:spPr>
          <a:xfrm>
            <a:off x="7507483" y="3725103"/>
            <a:ext cx="3161734" cy="153888"/>
          </a:xfrm>
        </p:spPr>
        <p:txBody>
          <a:bodyPr/>
          <a:lstStyle/>
          <a:p>
            <a:r>
              <a:rPr lang="en-US" noProof="0"/>
              <a:t>Create/search for incident tickets</a:t>
            </a:r>
          </a:p>
        </p:txBody>
      </p:sp>
      <p:sp>
        <p:nvSpPr>
          <p:cNvPr id="96" name="Text Placeholder 95">
            <a:extLst>
              <a:ext uri="{FF2B5EF4-FFF2-40B4-BE49-F238E27FC236}">
                <a16:creationId xmlns:a16="http://schemas.microsoft.com/office/drawing/2014/main" id="{5564DDA9-B708-4BF4-F618-5F2735D1F738}"/>
              </a:ext>
            </a:extLst>
          </p:cNvPr>
          <p:cNvSpPr>
            <a:spLocks noGrp="1"/>
          </p:cNvSpPr>
          <p:nvPr>
            <p:ph type="body" sz="quarter" idx="62"/>
          </p:nvPr>
        </p:nvSpPr>
        <p:spPr>
          <a:xfrm>
            <a:off x="7507483" y="4050957"/>
            <a:ext cx="3161734" cy="626701"/>
          </a:xfrm>
        </p:spPr>
        <p:txBody>
          <a:bodyPr/>
          <a:lstStyle/>
          <a:p>
            <a:r>
              <a:rPr lang="en-US" noProof="0"/>
              <a:t>Ask Copilot what to do upon discovery of damaged hardware while setting up the promotional display. Easily schedule a maintenance ticket by creating and assigning a new task.</a:t>
            </a:r>
          </a:p>
        </p:txBody>
      </p:sp>
      <p:sp>
        <p:nvSpPr>
          <p:cNvPr id="94" name="Text Placeholder 93">
            <a:extLst>
              <a:ext uri="{FF2B5EF4-FFF2-40B4-BE49-F238E27FC236}">
                <a16:creationId xmlns:a16="http://schemas.microsoft.com/office/drawing/2014/main" id="{F76B4EB2-631B-13DE-5CB1-8F9FA31DB09D}"/>
              </a:ext>
            </a:extLst>
          </p:cNvPr>
          <p:cNvSpPr>
            <a:spLocks noGrp="1"/>
          </p:cNvSpPr>
          <p:nvPr>
            <p:ph type="body" sz="quarter" idx="68"/>
          </p:nvPr>
        </p:nvSpPr>
        <p:spPr>
          <a:xfrm>
            <a:off x="4036409" y="5338502"/>
            <a:ext cx="3161734" cy="712876"/>
          </a:xfrm>
        </p:spPr>
        <p:txBody>
          <a:bodyPr/>
          <a:lstStyle/>
          <a:p>
            <a:r>
              <a:rPr lang="en-US" noProof="0"/>
              <a:t>Benefit: </a:t>
            </a:r>
            <a:r>
              <a:rPr lang="en-US">
                <a:latin typeface="+mj-lt"/>
              </a:rPr>
              <a:t>Feel confident and informed</a:t>
            </a:r>
            <a:r>
              <a:rPr lang="en-US" noProof="0"/>
              <a:t> about company policies and procedures – reducing stress and vulnerability during critical onboarding and upskilling periods.</a:t>
            </a:r>
          </a:p>
        </p:txBody>
      </p:sp>
      <p:sp>
        <p:nvSpPr>
          <p:cNvPr id="98" name="Text Placeholder 97">
            <a:extLst>
              <a:ext uri="{FF2B5EF4-FFF2-40B4-BE49-F238E27FC236}">
                <a16:creationId xmlns:a16="http://schemas.microsoft.com/office/drawing/2014/main" id="{DE207093-E6D8-A0C7-0146-293AF16AD839}"/>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09" name="Text Placeholder 108">
            <a:extLst>
              <a:ext uri="{FF2B5EF4-FFF2-40B4-BE49-F238E27FC236}">
                <a16:creationId xmlns:a16="http://schemas.microsoft.com/office/drawing/2014/main" id="{A0F5F7F0-4CD7-1A88-C39A-6ED33ACDB152}"/>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75" name="Text Placeholder 74">
            <a:extLst>
              <a:ext uri="{FF2B5EF4-FFF2-40B4-BE49-F238E27FC236}">
                <a16:creationId xmlns:a16="http://schemas.microsoft.com/office/drawing/2014/main" id="{1CAC0CEA-C1CC-EF9C-19CA-B40B96AAAEE0}"/>
              </a:ext>
            </a:extLst>
          </p:cNvPr>
          <p:cNvSpPr>
            <a:spLocks noGrp="1"/>
          </p:cNvSpPr>
          <p:nvPr>
            <p:ph type="body" sz="quarter" idx="33"/>
          </p:nvPr>
        </p:nvSpPr>
        <p:spPr>
          <a:xfrm>
            <a:off x="304796" y="413987"/>
            <a:ext cx="1941119" cy="307777"/>
          </a:xfrm>
        </p:spPr>
        <p:txBody>
          <a:bodyPr/>
          <a:lstStyle/>
          <a:p>
            <a:r>
              <a:rPr lang="en-US"/>
              <a:t>Retail</a:t>
            </a:r>
          </a:p>
        </p:txBody>
      </p:sp>
      <p:sp>
        <p:nvSpPr>
          <p:cNvPr id="74" name="Title 73">
            <a:extLst>
              <a:ext uri="{FF2B5EF4-FFF2-40B4-BE49-F238E27FC236}">
                <a16:creationId xmlns:a16="http://schemas.microsoft.com/office/drawing/2014/main" id="{6C8D737B-7CD6-785C-777E-79CD6E8FE53E}"/>
              </a:ext>
            </a:extLst>
          </p:cNvPr>
          <p:cNvSpPr>
            <a:spLocks noGrp="1"/>
          </p:cNvSpPr>
          <p:nvPr>
            <p:ph type="title"/>
          </p:nvPr>
        </p:nvSpPr>
        <p:spPr>
          <a:xfrm>
            <a:off x="2492556" y="429376"/>
            <a:ext cx="4144817" cy="276999"/>
          </a:xfrm>
        </p:spPr>
        <p:txBody>
          <a:bodyPr/>
          <a:lstStyle/>
          <a:p>
            <a:r>
              <a:rPr lang="en-US" noProof="0"/>
              <a:t>Improve retail store operations</a:t>
            </a:r>
          </a:p>
        </p:txBody>
      </p:sp>
      <p:grpSp>
        <p:nvGrpSpPr>
          <p:cNvPr id="110" name="Group 109">
            <a:extLst>
              <a:ext uri="{FF2B5EF4-FFF2-40B4-BE49-F238E27FC236}">
                <a16:creationId xmlns:a16="http://schemas.microsoft.com/office/drawing/2014/main" id="{820A5052-DC21-A252-4E0F-4D351B7DDCF5}"/>
              </a:ext>
            </a:extLst>
          </p:cNvPr>
          <p:cNvGrpSpPr/>
          <p:nvPr/>
        </p:nvGrpSpPr>
        <p:grpSpPr>
          <a:xfrm>
            <a:off x="320719" y="5020658"/>
            <a:ext cx="1771605" cy="216000"/>
            <a:chOff x="320719" y="4224856"/>
            <a:chExt cx="1771605" cy="219456"/>
          </a:xfrm>
        </p:grpSpPr>
        <p:sp>
          <p:nvSpPr>
            <p:cNvPr id="111" name="Rectangle: Rounded Corners 6">
              <a:extLst>
                <a:ext uri="{FF2B5EF4-FFF2-40B4-BE49-F238E27FC236}">
                  <a16:creationId xmlns:a16="http://schemas.microsoft.com/office/drawing/2014/main" id="{7394F841-DA6E-E5F8-3717-3622993C4FFC}"/>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12" name="Graphic 111">
              <a:extLst>
                <a:ext uri="{FF2B5EF4-FFF2-40B4-BE49-F238E27FC236}">
                  <a16:creationId xmlns:a16="http://schemas.microsoft.com/office/drawing/2014/main" id="{01F1AD25-ABDA-704C-DC05-31CDF78D4DD4}"/>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67506" y="4260849"/>
              <a:ext cx="144000" cy="144000"/>
            </a:xfrm>
            <a:prstGeom prst="rect">
              <a:avLst/>
            </a:prstGeom>
          </p:spPr>
        </p:pic>
      </p:grpSp>
      <p:grpSp>
        <p:nvGrpSpPr>
          <p:cNvPr id="113" name="Group 112">
            <a:extLst>
              <a:ext uri="{FF2B5EF4-FFF2-40B4-BE49-F238E27FC236}">
                <a16:creationId xmlns:a16="http://schemas.microsoft.com/office/drawing/2014/main" id="{E6A85B80-6746-35D6-2877-3C88410D7F9F}"/>
              </a:ext>
            </a:extLst>
          </p:cNvPr>
          <p:cNvGrpSpPr/>
          <p:nvPr/>
        </p:nvGrpSpPr>
        <p:grpSpPr>
          <a:xfrm>
            <a:off x="320721" y="5309272"/>
            <a:ext cx="1771605" cy="216000"/>
            <a:chOff x="320721" y="4517211"/>
            <a:chExt cx="1771605" cy="216000"/>
          </a:xfrm>
        </p:grpSpPr>
        <p:sp>
          <p:nvSpPr>
            <p:cNvPr id="115" name="Rectangle: Rounded Corners 6">
              <a:extLst>
                <a:ext uri="{FF2B5EF4-FFF2-40B4-BE49-F238E27FC236}">
                  <a16:creationId xmlns:a16="http://schemas.microsoft.com/office/drawing/2014/main" id="{28AA02BC-6079-495C-08D6-244FE52A01F7}"/>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16" name="Graphic 115">
              <a:extLst>
                <a:ext uri="{FF2B5EF4-FFF2-40B4-BE49-F238E27FC236}">
                  <a16:creationId xmlns:a16="http://schemas.microsoft.com/office/drawing/2014/main" id="{33868519-5629-86C8-DD78-2BC6C0E5EFA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7507" y="4552645"/>
              <a:ext cx="144000" cy="141732"/>
            </a:xfrm>
            <a:prstGeom prst="rect">
              <a:avLst/>
            </a:prstGeom>
          </p:spPr>
        </p:pic>
      </p:grpSp>
      <p:grpSp>
        <p:nvGrpSpPr>
          <p:cNvPr id="117" name="Group 116">
            <a:extLst>
              <a:ext uri="{FF2B5EF4-FFF2-40B4-BE49-F238E27FC236}">
                <a16:creationId xmlns:a16="http://schemas.microsoft.com/office/drawing/2014/main" id="{B082B98B-6EA7-4504-EA56-BD790F5404CA}"/>
              </a:ext>
            </a:extLst>
          </p:cNvPr>
          <p:cNvGrpSpPr/>
          <p:nvPr/>
        </p:nvGrpSpPr>
        <p:grpSpPr>
          <a:xfrm>
            <a:off x="320719" y="3778836"/>
            <a:ext cx="1771605" cy="216000"/>
            <a:chOff x="320719" y="4224856"/>
            <a:chExt cx="1771605" cy="219456"/>
          </a:xfrm>
        </p:grpSpPr>
        <p:sp>
          <p:nvSpPr>
            <p:cNvPr id="118" name="Rectangle: Rounded Corners 6">
              <a:extLst>
                <a:ext uri="{FF2B5EF4-FFF2-40B4-BE49-F238E27FC236}">
                  <a16:creationId xmlns:a16="http://schemas.microsoft.com/office/drawing/2014/main" id="{1DB8FA26-80F3-9CA1-6CD0-B989DD63B53D}"/>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119" name="Graphic 118">
              <a:extLst>
                <a:ext uri="{FF2B5EF4-FFF2-40B4-BE49-F238E27FC236}">
                  <a16:creationId xmlns:a16="http://schemas.microsoft.com/office/drawing/2014/main" id="{46401007-F90C-6E0C-A590-AE3FC820B5FF}"/>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120" name="Group 119">
            <a:extLst>
              <a:ext uri="{FF2B5EF4-FFF2-40B4-BE49-F238E27FC236}">
                <a16:creationId xmlns:a16="http://schemas.microsoft.com/office/drawing/2014/main" id="{DC182673-0F93-AD94-8CE4-2CE07343DDB3}"/>
              </a:ext>
            </a:extLst>
          </p:cNvPr>
          <p:cNvGrpSpPr/>
          <p:nvPr/>
        </p:nvGrpSpPr>
        <p:grpSpPr>
          <a:xfrm>
            <a:off x="320721" y="4067450"/>
            <a:ext cx="1771605" cy="216000"/>
            <a:chOff x="320721" y="4517211"/>
            <a:chExt cx="1771605" cy="216000"/>
          </a:xfrm>
        </p:grpSpPr>
        <p:sp>
          <p:nvSpPr>
            <p:cNvPr id="121" name="Rectangle: Rounded Corners 6">
              <a:extLst>
                <a:ext uri="{FF2B5EF4-FFF2-40B4-BE49-F238E27FC236}">
                  <a16:creationId xmlns:a16="http://schemas.microsoft.com/office/drawing/2014/main" id="{47A1B6B1-358C-0594-AEB3-2C9B44AA52D2}"/>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ustomer satisfaction</a:t>
              </a:r>
            </a:p>
          </p:txBody>
        </p:sp>
        <p:pic>
          <p:nvPicPr>
            <p:cNvPr id="122" name="Graphic 121">
              <a:extLst>
                <a:ext uri="{FF2B5EF4-FFF2-40B4-BE49-F238E27FC236}">
                  <a16:creationId xmlns:a16="http://schemas.microsoft.com/office/drawing/2014/main" id="{D3803272-BD39-3073-5EEB-6361076F09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507" y="4552645"/>
              <a:ext cx="144000" cy="141732"/>
            </a:xfrm>
            <a:prstGeom prst="rect">
              <a:avLst/>
            </a:prstGeom>
          </p:spPr>
        </p:pic>
      </p:grpSp>
      <p:grpSp>
        <p:nvGrpSpPr>
          <p:cNvPr id="123" name="Group 122">
            <a:extLst>
              <a:ext uri="{FF2B5EF4-FFF2-40B4-BE49-F238E27FC236}">
                <a16:creationId xmlns:a16="http://schemas.microsoft.com/office/drawing/2014/main" id="{94E67EEF-6597-9018-5EA1-CDE1C8F6EF42}"/>
              </a:ext>
            </a:extLst>
          </p:cNvPr>
          <p:cNvGrpSpPr/>
          <p:nvPr/>
        </p:nvGrpSpPr>
        <p:grpSpPr>
          <a:xfrm>
            <a:off x="320719" y="4356602"/>
            <a:ext cx="1771605" cy="216000"/>
            <a:chOff x="320719" y="4224856"/>
            <a:chExt cx="1771605" cy="219456"/>
          </a:xfrm>
        </p:grpSpPr>
        <p:sp>
          <p:nvSpPr>
            <p:cNvPr id="124" name="Rectangle: Rounded Corners 6">
              <a:extLst>
                <a:ext uri="{FF2B5EF4-FFF2-40B4-BE49-F238E27FC236}">
                  <a16:creationId xmlns:a16="http://schemas.microsoft.com/office/drawing/2014/main" id="{6540C6B6-1CDC-93C9-5787-6ED4C9A457CE}"/>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Employee churn</a:t>
              </a:r>
            </a:p>
          </p:txBody>
        </p:sp>
        <p:pic>
          <p:nvPicPr>
            <p:cNvPr id="125" name="Graphic 124">
              <a:extLst>
                <a:ext uri="{FF2B5EF4-FFF2-40B4-BE49-F238E27FC236}">
                  <a16:creationId xmlns:a16="http://schemas.microsoft.com/office/drawing/2014/main" id="{E4D5BBE4-AFCE-8ED0-5392-0CD43DB7BC62}"/>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pic>
        <p:nvPicPr>
          <p:cNvPr id="161" name="Picture 160">
            <a:hlinkClick r:id="rId8"/>
            <a:extLst>
              <a:ext uri="{FF2B5EF4-FFF2-40B4-BE49-F238E27FC236}">
                <a16:creationId xmlns:a16="http://schemas.microsoft.com/office/drawing/2014/main" id="{31F9454D-080A-AC5E-7795-27A865D01251}"/>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4037013" y="4853435"/>
            <a:ext cx="224338" cy="215956"/>
          </a:xfrm>
          <a:prstGeom prst="rect">
            <a:avLst/>
          </a:prstGeom>
          <a:ln w="6657" cap="flat">
            <a:noFill/>
            <a:prstDash val="solid"/>
            <a:miter/>
          </a:ln>
          <a:effectLst/>
        </p:spPr>
      </p:pic>
      <p:sp>
        <p:nvSpPr>
          <p:cNvPr id="187" name="Graphic 2">
            <a:hlinkClick r:id="rId10"/>
            <a:extLst>
              <a:ext uri="{FF2B5EF4-FFF2-40B4-BE49-F238E27FC236}">
                <a16:creationId xmlns:a16="http://schemas.microsoft.com/office/drawing/2014/main" id="{33A0E371-7F2C-938B-C545-103D4A43BA3C}"/>
              </a:ext>
            </a:extLst>
          </p:cNvPr>
          <p:cNvSpPr>
            <a:spLocks/>
          </p:cNvSpPr>
          <p:nvPr/>
        </p:nvSpPr>
        <p:spPr>
          <a:xfrm>
            <a:off x="6304100" y="353157"/>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88" name="Straight Connector 187">
            <a:extLst>
              <a:ext uri="{FF2B5EF4-FFF2-40B4-BE49-F238E27FC236}">
                <a16:creationId xmlns:a16="http://schemas.microsoft.com/office/drawing/2014/main" id="{D639B7B0-8F1B-D89B-DE69-D24F70B21F98}"/>
              </a:ext>
            </a:extLst>
          </p:cNvPr>
          <p:cNvCxnSpPr>
            <a:cxnSpLocks/>
          </p:cNvCxnSpPr>
          <p:nvPr/>
        </p:nvCxnSpPr>
        <p:spPr>
          <a:xfrm>
            <a:off x="304800" y="3273981"/>
            <a:ext cx="2431246"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4" name="TextBox 153">
            <a:extLst>
              <a:ext uri="{FF2B5EF4-FFF2-40B4-BE49-F238E27FC236}">
                <a16:creationId xmlns:a16="http://schemas.microsoft.com/office/drawing/2014/main" id="{B293216E-0C00-845F-61E5-4D4F4D5948D8}"/>
              </a:ext>
              <a:ext uri="{C183D7F6-B498-43B3-948B-1728B52AA6E4}">
                <adec:decorative xmlns:adec="http://schemas.microsoft.com/office/drawing/2017/decorative" val="0"/>
              </a:ext>
            </a:extLst>
          </p:cNvPr>
          <p:cNvSpPr txBox="1"/>
          <p:nvPr/>
        </p:nvSpPr>
        <p:spPr>
          <a:xfrm>
            <a:off x="9327307" y="2270123"/>
            <a:ext cx="2398798" cy="8979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SharePoint site</a:t>
            </a:r>
          </a:p>
        </p:txBody>
      </p:sp>
      <p:sp>
        <p:nvSpPr>
          <p:cNvPr id="157" name="TextBox 156">
            <a:extLst>
              <a:ext uri="{FF2B5EF4-FFF2-40B4-BE49-F238E27FC236}">
                <a16:creationId xmlns:a16="http://schemas.microsoft.com/office/drawing/2014/main" id="{45556CA6-EFA8-0F64-932E-E2F2C5DC83B3}"/>
              </a:ext>
              <a:ext uri="{C183D7F6-B498-43B3-948B-1728B52AA6E4}">
                <adec:decorative xmlns:adec="http://schemas.microsoft.com/office/drawing/2017/decorative" val="0"/>
              </a:ext>
            </a:extLst>
          </p:cNvPr>
          <p:cNvSpPr txBox="1"/>
          <p:nvPr/>
        </p:nvSpPr>
        <p:spPr>
          <a:xfrm>
            <a:off x="6447645" y="2270123"/>
            <a:ext cx="2398798" cy="8979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order management system</a:t>
            </a:r>
          </a:p>
        </p:txBody>
      </p:sp>
      <p:sp>
        <p:nvSpPr>
          <p:cNvPr id="151" name="TextBox 150">
            <a:extLst>
              <a:ext uri="{FF2B5EF4-FFF2-40B4-BE49-F238E27FC236}">
                <a16:creationId xmlns:a16="http://schemas.microsoft.com/office/drawing/2014/main" id="{8ECEF923-A6C8-9621-1B50-499DFE425908}"/>
              </a:ext>
              <a:ext uri="{C183D7F6-B498-43B3-948B-1728B52AA6E4}">
                <adec:decorative xmlns:adec="http://schemas.microsoft.com/office/drawing/2017/decorative" val="0"/>
              </a:ext>
            </a:extLst>
          </p:cNvPr>
          <p:cNvSpPr txBox="1"/>
          <p:nvPr/>
        </p:nvSpPr>
        <p:spPr>
          <a:xfrm>
            <a:off x="3559920" y="2270123"/>
            <a:ext cx="2379991" cy="8979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SharePoint site</a:t>
            </a:r>
          </a:p>
        </p:txBody>
      </p:sp>
      <p:sp>
        <p:nvSpPr>
          <p:cNvPr id="166" name="TextBox 165">
            <a:extLst>
              <a:ext uri="{FF2B5EF4-FFF2-40B4-BE49-F238E27FC236}">
                <a16:creationId xmlns:a16="http://schemas.microsoft.com/office/drawing/2014/main" id="{E9669123-1602-53B0-67DD-69A6B1B5F411}"/>
              </a:ext>
              <a:ext uri="{C183D7F6-B498-43B3-948B-1728B52AA6E4}">
                <adec:decorative xmlns:adec="http://schemas.microsoft.com/office/drawing/2017/decorative" val="0"/>
              </a:ext>
            </a:extLst>
          </p:cNvPr>
          <p:cNvSpPr txBox="1"/>
          <p:nvPr/>
        </p:nvSpPr>
        <p:spPr>
          <a:xfrm>
            <a:off x="7866233" y="4900611"/>
            <a:ext cx="3161733" cy="95186"/>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ticketing app</a:t>
            </a:r>
          </a:p>
        </p:txBody>
      </p:sp>
      <p:pic>
        <p:nvPicPr>
          <p:cNvPr id="131" name="Picture 130">
            <a:extLst>
              <a:ext uri="{FF2B5EF4-FFF2-40B4-BE49-F238E27FC236}">
                <a16:creationId xmlns:a16="http://schemas.microsoft.com/office/drawing/2014/main" id="{921EF6A2-86D6-8A14-8034-BDE0E2BF2893}"/>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8950325" y="2207040"/>
            <a:ext cx="224338" cy="215956"/>
          </a:xfrm>
          <a:prstGeom prst="rect">
            <a:avLst/>
          </a:prstGeom>
          <a:ln w="6657" cap="flat">
            <a:noFill/>
            <a:prstDash val="solid"/>
            <a:miter/>
          </a:ln>
          <a:effectLst/>
        </p:spPr>
      </p:pic>
      <p:pic>
        <p:nvPicPr>
          <p:cNvPr id="132" name="Picture 131">
            <a:extLst>
              <a:ext uri="{FF2B5EF4-FFF2-40B4-BE49-F238E27FC236}">
                <a16:creationId xmlns:a16="http://schemas.microsoft.com/office/drawing/2014/main" id="{EF934B4E-04D4-DA37-33A9-E825E84C899A}"/>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6067425" y="2207040"/>
            <a:ext cx="224338" cy="215956"/>
          </a:xfrm>
          <a:prstGeom prst="rect">
            <a:avLst/>
          </a:prstGeom>
          <a:ln w="6657" cap="flat">
            <a:noFill/>
            <a:prstDash val="solid"/>
            <a:miter/>
          </a:ln>
          <a:effectLst/>
        </p:spPr>
      </p:pic>
      <p:pic>
        <p:nvPicPr>
          <p:cNvPr id="133" name="Picture 132">
            <a:extLst>
              <a:ext uri="{FF2B5EF4-FFF2-40B4-BE49-F238E27FC236}">
                <a16:creationId xmlns:a16="http://schemas.microsoft.com/office/drawing/2014/main" id="{640D66F9-10D4-4B93-7BEA-367942DE9DCE}"/>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3182938" y="2207040"/>
            <a:ext cx="224338" cy="215956"/>
          </a:xfrm>
          <a:prstGeom prst="rect">
            <a:avLst/>
          </a:prstGeom>
          <a:ln w="6657" cap="flat">
            <a:noFill/>
            <a:prstDash val="solid"/>
            <a:miter/>
          </a:ln>
          <a:effectLst/>
        </p:spPr>
      </p:pic>
      <p:pic>
        <p:nvPicPr>
          <p:cNvPr id="134" name="Picture 133">
            <a:extLst>
              <a:ext uri="{FF2B5EF4-FFF2-40B4-BE49-F238E27FC236}">
                <a16:creationId xmlns:a16="http://schemas.microsoft.com/office/drawing/2014/main" id="{FF203F60-6A13-3745-F370-BC3A71D63DE2}"/>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7507288" y="4840226"/>
            <a:ext cx="224338" cy="215956"/>
          </a:xfrm>
          <a:prstGeom prst="rect">
            <a:avLst/>
          </a:prstGeom>
          <a:ln w="6657" cap="flat">
            <a:noFill/>
            <a:prstDash val="solid"/>
            <a:miter/>
          </a:ln>
          <a:effectLst/>
        </p:spPr>
      </p:pic>
      <p:sp>
        <p:nvSpPr>
          <p:cNvPr id="160" name="TextBox 159">
            <a:extLst>
              <a:ext uri="{FF2B5EF4-FFF2-40B4-BE49-F238E27FC236}">
                <a16:creationId xmlns:a16="http://schemas.microsoft.com/office/drawing/2014/main" id="{68C6B80D-31C5-5BD5-03FA-EBAB514DBC1A}"/>
              </a:ext>
              <a:ext uri="{C183D7F6-B498-43B3-948B-1728B52AA6E4}">
                <adec:decorative xmlns:adec="http://schemas.microsoft.com/office/drawing/2017/decorative" val="0"/>
              </a:ext>
            </a:extLst>
          </p:cNvPr>
          <p:cNvSpPr txBox="1"/>
          <p:nvPr/>
        </p:nvSpPr>
        <p:spPr>
          <a:xfrm>
            <a:off x="4417233" y="4693921"/>
            <a:ext cx="1886867" cy="53498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company Intranet</a:t>
            </a:r>
          </a:p>
        </p:txBody>
      </p:sp>
    </p:spTree>
    <p:extLst>
      <p:ext uri="{BB962C8B-B14F-4D97-AF65-F5344CB8AC3E}">
        <p14:creationId xmlns:p14="http://schemas.microsoft.com/office/powerpoint/2010/main" val="10496809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3FBB30-15A0-B2E4-AB85-9B6B7435F3CB}"/>
              </a:ext>
            </a:extLst>
          </p:cNvPr>
          <p:cNvSpPr>
            <a:spLocks noGrp="1"/>
          </p:cNvSpPr>
          <p:nvPr>
            <p:ph type="title"/>
          </p:nvPr>
        </p:nvSpPr>
        <p:spPr>
          <a:xfrm>
            <a:off x="588263" y="457200"/>
            <a:ext cx="11018520" cy="553998"/>
          </a:xfrm>
        </p:spPr>
        <p:txBody>
          <a:bodyPr/>
          <a:lstStyle/>
          <a:p>
            <a:r>
              <a:rPr lang="en-US" noProof="0"/>
              <a:t>AI value journey</a:t>
            </a:r>
          </a:p>
        </p:txBody>
      </p:sp>
      <p:sp>
        <p:nvSpPr>
          <p:cNvPr id="38" name="Freeform: Shape 61">
            <a:extLst>
              <a:ext uri="{FF2B5EF4-FFF2-40B4-BE49-F238E27FC236}">
                <a16:creationId xmlns:a16="http://schemas.microsoft.com/office/drawing/2014/main" id="{E7305B75-9D42-0D47-9CA9-C37A49B65AAB}"/>
              </a:ext>
              <a:ext uri="{C183D7F6-B498-43B3-948B-1728B52AA6E4}">
                <adec:decorative xmlns:adec="http://schemas.microsoft.com/office/drawing/2017/decorative" val="1"/>
              </a:ext>
            </a:extLst>
          </p:cNvPr>
          <p:cNvSpPr/>
          <p:nvPr/>
        </p:nvSpPr>
        <p:spPr>
          <a:xfrm>
            <a:off x="2769691" y="2415352"/>
            <a:ext cx="3576379" cy="3496392"/>
          </a:xfrm>
          <a:custGeom>
            <a:avLst/>
            <a:gdLst>
              <a:gd name="connsiteX0" fmla="*/ 1631724 w 3263446"/>
              <a:gd name="connsiteY0" fmla="*/ 0 h 3190456"/>
              <a:gd name="connsiteX1" fmla="*/ 1736196 w 3263446"/>
              <a:gd name="connsiteY1" fmla="*/ 59492 h 3190456"/>
              <a:gd name="connsiteX2" fmla="*/ 1760976 w 3263446"/>
              <a:gd name="connsiteY2" fmla="*/ 109837 h 3190456"/>
              <a:gd name="connsiteX3" fmla="*/ 1763413 w 3263446"/>
              <a:gd name="connsiteY3" fmla="*/ 108594 h 3190456"/>
              <a:gd name="connsiteX4" fmla="*/ 2960089 w 3263446"/>
              <a:gd name="connsiteY4" fmla="*/ 2455421 h 3190456"/>
              <a:gd name="connsiteX5" fmla="*/ 2958569 w 3263446"/>
              <a:gd name="connsiteY5" fmla="*/ 2456196 h 3190456"/>
              <a:gd name="connsiteX6" fmla="*/ 3253343 w 3263446"/>
              <a:gd name="connsiteY6" fmla="*/ 3051800 h 3190456"/>
              <a:gd name="connsiteX7" fmla="*/ 3249136 w 3263446"/>
              <a:gd name="connsiteY7" fmla="*/ 3144978 h 3190456"/>
              <a:gd name="connsiteX8" fmla="*/ 3167818 w 3263446"/>
              <a:gd name="connsiteY8" fmla="*/ 3190456 h 3190456"/>
              <a:gd name="connsiteX9" fmla="*/ 95629 w 3263446"/>
              <a:gd name="connsiteY9" fmla="*/ 3190456 h 3190456"/>
              <a:gd name="connsiteX10" fmla="*/ 14311 w 3263446"/>
              <a:gd name="connsiteY10" fmla="*/ 3144978 h 3190456"/>
              <a:gd name="connsiteX11" fmla="*/ 10103 w 3263446"/>
              <a:gd name="connsiteY11" fmla="*/ 3051800 h 3190456"/>
              <a:gd name="connsiteX12" fmla="*/ 314988 w 3263446"/>
              <a:gd name="connsiteY12" fmla="*/ 2435767 h 3190456"/>
              <a:gd name="connsiteX13" fmla="*/ 314398 w 3263446"/>
              <a:gd name="connsiteY13" fmla="*/ 2435467 h 3190456"/>
              <a:gd name="connsiteX14" fmla="*/ 1500898 w 3263446"/>
              <a:gd name="connsiteY14" fmla="*/ 108595 h 3190456"/>
              <a:gd name="connsiteX15" fmla="*/ 1502644 w 3263446"/>
              <a:gd name="connsiteY15" fmla="*/ 109486 h 3190456"/>
              <a:gd name="connsiteX16" fmla="*/ 1527251 w 3263446"/>
              <a:gd name="connsiteY16" fmla="*/ 59492 h 3190456"/>
              <a:gd name="connsiteX17" fmla="*/ 1631724 w 3263446"/>
              <a:gd name="connsiteY17"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2960089 w 3263446"/>
              <a:gd name="connsiteY3" fmla="*/ 2455421 h 3190456"/>
              <a:gd name="connsiteX4" fmla="*/ 2958569 w 3263446"/>
              <a:gd name="connsiteY4" fmla="*/ 2456196 h 3190456"/>
              <a:gd name="connsiteX5" fmla="*/ 3253343 w 3263446"/>
              <a:gd name="connsiteY5" fmla="*/ 3051800 h 3190456"/>
              <a:gd name="connsiteX6" fmla="*/ 3249136 w 3263446"/>
              <a:gd name="connsiteY6" fmla="*/ 3144978 h 3190456"/>
              <a:gd name="connsiteX7" fmla="*/ 3167818 w 3263446"/>
              <a:gd name="connsiteY7" fmla="*/ 3190456 h 3190456"/>
              <a:gd name="connsiteX8" fmla="*/ 95629 w 3263446"/>
              <a:gd name="connsiteY8" fmla="*/ 3190456 h 3190456"/>
              <a:gd name="connsiteX9" fmla="*/ 14311 w 3263446"/>
              <a:gd name="connsiteY9" fmla="*/ 3144978 h 3190456"/>
              <a:gd name="connsiteX10" fmla="*/ 10103 w 3263446"/>
              <a:gd name="connsiteY10" fmla="*/ 3051800 h 3190456"/>
              <a:gd name="connsiteX11" fmla="*/ 314988 w 3263446"/>
              <a:gd name="connsiteY11" fmla="*/ 2435767 h 3190456"/>
              <a:gd name="connsiteX12" fmla="*/ 314398 w 3263446"/>
              <a:gd name="connsiteY12" fmla="*/ 2435467 h 3190456"/>
              <a:gd name="connsiteX13" fmla="*/ 1500898 w 3263446"/>
              <a:gd name="connsiteY13" fmla="*/ 108595 h 3190456"/>
              <a:gd name="connsiteX14" fmla="*/ 1502644 w 3263446"/>
              <a:gd name="connsiteY14" fmla="*/ 109486 h 3190456"/>
              <a:gd name="connsiteX15" fmla="*/ 1527251 w 3263446"/>
              <a:gd name="connsiteY15" fmla="*/ 59492 h 3190456"/>
              <a:gd name="connsiteX16" fmla="*/ 1631724 w 3263446"/>
              <a:gd name="connsiteY16"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2960089 w 3263446"/>
              <a:gd name="connsiteY3" fmla="*/ 2455421 h 3190456"/>
              <a:gd name="connsiteX4" fmla="*/ 2958569 w 3263446"/>
              <a:gd name="connsiteY4" fmla="*/ 2456196 h 3190456"/>
              <a:gd name="connsiteX5" fmla="*/ 3253343 w 3263446"/>
              <a:gd name="connsiteY5" fmla="*/ 3051800 h 3190456"/>
              <a:gd name="connsiteX6" fmla="*/ 3249136 w 3263446"/>
              <a:gd name="connsiteY6" fmla="*/ 3144978 h 3190456"/>
              <a:gd name="connsiteX7" fmla="*/ 3167818 w 3263446"/>
              <a:gd name="connsiteY7" fmla="*/ 3190456 h 3190456"/>
              <a:gd name="connsiteX8" fmla="*/ 95629 w 3263446"/>
              <a:gd name="connsiteY8" fmla="*/ 3190456 h 3190456"/>
              <a:gd name="connsiteX9" fmla="*/ 14311 w 3263446"/>
              <a:gd name="connsiteY9" fmla="*/ 3144978 h 3190456"/>
              <a:gd name="connsiteX10" fmla="*/ 10103 w 3263446"/>
              <a:gd name="connsiteY10" fmla="*/ 3051800 h 3190456"/>
              <a:gd name="connsiteX11" fmla="*/ 314988 w 3263446"/>
              <a:gd name="connsiteY11" fmla="*/ 2435767 h 3190456"/>
              <a:gd name="connsiteX12" fmla="*/ 314398 w 3263446"/>
              <a:gd name="connsiteY12" fmla="*/ 2435467 h 3190456"/>
              <a:gd name="connsiteX13" fmla="*/ 1500898 w 3263446"/>
              <a:gd name="connsiteY13" fmla="*/ 108595 h 3190456"/>
              <a:gd name="connsiteX14" fmla="*/ 1527251 w 3263446"/>
              <a:gd name="connsiteY14" fmla="*/ 59492 h 3190456"/>
              <a:gd name="connsiteX15" fmla="*/ 1631724 w 3263446"/>
              <a:gd name="connsiteY15"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2960089 w 3263446"/>
              <a:gd name="connsiteY3" fmla="*/ 2455421 h 3190456"/>
              <a:gd name="connsiteX4" fmla="*/ 2958569 w 3263446"/>
              <a:gd name="connsiteY4" fmla="*/ 2456196 h 3190456"/>
              <a:gd name="connsiteX5" fmla="*/ 3253343 w 3263446"/>
              <a:gd name="connsiteY5" fmla="*/ 3051800 h 3190456"/>
              <a:gd name="connsiteX6" fmla="*/ 3249136 w 3263446"/>
              <a:gd name="connsiteY6" fmla="*/ 3144978 h 3190456"/>
              <a:gd name="connsiteX7" fmla="*/ 3167818 w 3263446"/>
              <a:gd name="connsiteY7" fmla="*/ 3190456 h 3190456"/>
              <a:gd name="connsiteX8" fmla="*/ 95629 w 3263446"/>
              <a:gd name="connsiteY8" fmla="*/ 3190456 h 3190456"/>
              <a:gd name="connsiteX9" fmla="*/ 14311 w 3263446"/>
              <a:gd name="connsiteY9" fmla="*/ 3144978 h 3190456"/>
              <a:gd name="connsiteX10" fmla="*/ 10103 w 3263446"/>
              <a:gd name="connsiteY10" fmla="*/ 3051800 h 3190456"/>
              <a:gd name="connsiteX11" fmla="*/ 314988 w 3263446"/>
              <a:gd name="connsiteY11" fmla="*/ 2435767 h 3190456"/>
              <a:gd name="connsiteX12" fmla="*/ 1500898 w 3263446"/>
              <a:gd name="connsiteY12" fmla="*/ 108595 h 3190456"/>
              <a:gd name="connsiteX13" fmla="*/ 1527251 w 3263446"/>
              <a:gd name="connsiteY13" fmla="*/ 59492 h 3190456"/>
              <a:gd name="connsiteX14" fmla="*/ 1631724 w 3263446"/>
              <a:gd name="connsiteY14"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2960089 w 3263446"/>
              <a:gd name="connsiteY3" fmla="*/ 2455421 h 3190456"/>
              <a:gd name="connsiteX4" fmla="*/ 3253343 w 3263446"/>
              <a:gd name="connsiteY4" fmla="*/ 3051800 h 3190456"/>
              <a:gd name="connsiteX5" fmla="*/ 3249136 w 3263446"/>
              <a:gd name="connsiteY5" fmla="*/ 3144978 h 3190456"/>
              <a:gd name="connsiteX6" fmla="*/ 3167818 w 3263446"/>
              <a:gd name="connsiteY6" fmla="*/ 3190456 h 3190456"/>
              <a:gd name="connsiteX7" fmla="*/ 95629 w 3263446"/>
              <a:gd name="connsiteY7" fmla="*/ 3190456 h 3190456"/>
              <a:gd name="connsiteX8" fmla="*/ 14311 w 3263446"/>
              <a:gd name="connsiteY8" fmla="*/ 3144978 h 3190456"/>
              <a:gd name="connsiteX9" fmla="*/ 10103 w 3263446"/>
              <a:gd name="connsiteY9" fmla="*/ 3051800 h 3190456"/>
              <a:gd name="connsiteX10" fmla="*/ 314988 w 3263446"/>
              <a:gd name="connsiteY10" fmla="*/ 2435767 h 3190456"/>
              <a:gd name="connsiteX11" fmla="*/ 1500898 w 3263446"/>
              <a:gd name="connsiteY11" fmla="*/ 108595 h 3190456"/>
              <a:gd name="connsiteX12" fmla="*/ 1527251 w 3263446"/>
              <a:gd name="connsiteY12" fmla="*/ 59492 h 3190456"/>
              <a:gd name="connsiteX13" fmla="*/ 1631724 w 3263446"/>
              <a:gd name="connsiteY13"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3253343 w 3263446"/>
              <a:gd name="connsiteY3" fmla="*/ 3051800 h 3190456"/>
              <a:gd name="connsiteX4" fmla="*/ 3249136 w 3263446"/>
              <a:gd name="connsiteY4" fmla="*/ 3144978 h 3190456"/>
              <a:gd name="connsiteX5" fmla="*/ 3167818 w 3263446"/>
              <a:gd name="connsiteY5" fmla="*/ 3190456 h 3190456"/>
              <a:gd name="connsiteX6" fmla="*/ 95629 w 3263446"/>
              <a:gd name="connsiteY6" fmla="*/ 3190456 h 3190456"/>
              <a:gd name="connsiteX7" fmla="*/ 14311 w 3263446"/>
              <a:gd name="connsiteY7" fmla="*/ 3144978 h 3190456"/>
              <a:gd name="connsiteX8" fmla="*/ 10103 w 3263446"/>
              <a:gd name="connsiteY8" fmla="*/ 3051800 h 3190456"/>
              <a:gd name="connsiteX9" fmla="*/ 314988 w 3263446"/>
              <a:gd name="connsiteY9" fmla="*/ 2435767 h 3190456"/>
              <a:gd name="connsiteX10" fmla="*/ 1500898 w 3263446"/>
              <a:gd name="connsiteY10" fmla="*/ 108595 h 3190456"/>
              <a:gd name="connsiteX11" fmla="*/ 1527251 w 3263446"/>
              <a:gd name="connsiteY11" fmla="*/ 59492 h 3190456"/>
              <a:gd name="connsiteX12" fmla="*/ 1631724 w 3263446"/>
              <a:gd name="connsiteY12"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3253343 w 3263446"/>
              <a:gd name="connsiteY3" fmla="*/ 3051800 h 3190456"/>
              <a:gd name="connsiteX4" fmla="*/ 3249136 w 3263446"/>
              <a:gd name="connsiteY4" fmla="*/ 3144978 h 3190456"/>
              <a:gd name="connsiteX5" fmla="*/ 3167818 w 3263446"/>
              <a:gd name="connsiteY5" fmla="*/ 3190456 h 3190456"/>
              <a:gd name="connsiteX6" fmla="*/ 95629 w 3263446"/>
              <a:gd name="connsiteY6" fmla="*/ 3190456 h 3190456"/>
              <a:gd name="connsiteX7" fmla="*/ 14311 w 3263446"/>
              <a:gd name="connsiteY7" fmla="*/ 3144978 h 3190456"/>
              <a:gd name="connsiteX8" fmla="*/ 10103 w 3263446"/>
              <a:gd name="connsiteY8" fmla="*/ 3051800 h 3190456"/>
              <a:gd name="connsiteX9" fmla="*/ 1500898 w 3263446"/>
              <a:gd name="connsiteY9" fmla="*/ 108595 h 3190456"/>
              <a:gd name="connsiteX10" fmla="*/ 1527251 w 3263446"/>
              <a:gd name="connsiteY10" fmla="*/ 59492 h 3190456"/>
              <a:gd name="connsiteX11" fmla="*/ 1631724 w 3263446"/>
              <a:gd name="connsiteY11" fmla="*/ 0 h 319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3446" h="3190456">
                <a:moveTo>
                  <a:pt x="1631724" y="0"/>
                </a:moveTo>
                <a:cubicBezTo>
                  <a:pt x="1674037" y="0"/>
                  <a:pt x="1716350" y="19831"/>
                  <a:pt x="1736196" y="59492"/>
                </a:cubicBezTo>
                <a:lnTo>
                  <a:pt x="1760976" y="109837"/>
                </a:lnTo>
                <a:lnTo>
                  <a:pt x="3253343" y="3051800"/>
                </a:lnTo>
                <a:cubicBezTo>
                  <a:pt x="3268182" y="3081465"/>
                  <a:pt x="3266588" y="3116737"/>
                  <a:pt x="3249136" y="3144978"/>
                </a:cubicBezTo>
                <a:cubicBezTo>
                  <a:pt x="3231684" y="3173244"/>
                  <a:pt x="3200956" y="3190456"/>
                  <a:pt x="3167818" y="3190456"/>
                </a:cubicBezTo>
                <a:lnTo>
                  <a:pt x="95629" y="3190456"/>
                </a:lnTo>
                <a:cubicBezTo>
                  <a:pt x="62489" y="3190456"/>
                  <a:pt x="31765" y="3173244"/>
                  <a:pt x="14311" y="3144978"/>
                </a:cubicBezTo>
                <a:cubicBezTo>
                  <a:pt x="-3143" y="3116737"/>
                  <a:pt x="-4736" y="3081465"/>
                  <a:pt x="10103" y="3051800"/>
                </a:cubicBezTo>
                <a:lnTo>
                  <a:pt x="1500898" y="108595"/>
                </a:lnTo>
                <a:lnTo>
                  <a:pt x="1527251" y="59492"/>
                </a:lnTo>
                <a:cubicBezTo>
                  <a:pt x="1547098" y="19831"/>
                  <a:pt x="1589411" y="0"/>
                  <a:pt x="1631724" y="0"/>
                </a:cubicBezTo>
                <a:close/>
              </a:path>
            </a:pathLst>
          </a:custGeom>
          <a:noFill/>
          <a:ln w="9525" cap="flat" cmpd="sng" algn="ctr">
            <a:noFill/>
            <a:prstDash val="solid"/>
            <a:headEnd type="none" w="med" len="med"/>
            <a:tailEnd type="none" w="med" len="med"/>
          </a:ln>
          <a:effectLst>
            <a:outerShdw blurRad="190500" algn="ctr"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39" name="Freeform: Shape 46">
            <a:extLst>
              <a:ext uri="{FF2B5EF4-FFF2-40B4-BE49-F238E27FC236}">
                <a16:creationId xmlns:a16="http://schemas.microsoft.com/office/drawing/2014/main" id="{0BF7F6AD-67CB-EC42-2334-D2F6B8EAE3A9}"/>
              </a:ext>
            </a:extLst>
          </p:cNvPr>
          <p:cNvSpPr/>
          <p:nvPr/>
        </p:nvSpPr>
        <p:spPr>
          <a:xfrm>
            <a:off x="4089794" y="2588710"/>
            <a:ext cx="936172" cy="944200"/>
          </a:xfrm>
          <a:custGeom>
            <a:avLst/>
            <a:gdLst>
              <a:gd name="connsiteX0" fmla="*/ 1710353 w 1900426"/>
              <a:gd name="connsiteY0" fmla="*/ 1916724 h 1916723"/>
              <a:gd name="connsiteX1" fmla="*/ 1871984 w 1900426"/>
              <a:gd name="connsiteY1" fmla="*/ 1826382 h 1916723"/>
              <a:gd name="connsiteX2" fmla="*/ 1880346 w 1900426"/>
              <a:gd name="connsiteY2" fmla="*/ 1641179 h 1916723"/>
              <a:gd name="connsiteX3" fmla="*/ 1120206 w 1900426"/>
              <a:gd name="connsiteY3" fmla="*/ 96803 h 1916723"/>
              <a:gd name="connsiteX4" fmla="*/ 780221 w 1900426"/>
              <a:gd name="connsiteY4" fmla="*/ 96803 h 1916723"/>
              <a:gd name="connsiteX5" fmla="*/ 20081 w 1900426"/>
              <a:gd name="connsiteY5" fmla="*/ 1641179 h 1916723"/>
              <a:gd name="connsiteX6" fmla="*/ 28443 w 1900426"/>
              <a:gd name="connsiteY6" fmla="*/ 1826382 h 1916723"/>
              <a:gd name="connsiteX7" fmla="*/ 190074 w 1900426"/>
              <a:gd name="connsiteY7" fmla="*/ 1916724 h 191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0426" h="1916723">
                <a:moveTo>
                  <a:pt x="1710353" y="1916724"/>
                </a:moveTo>
                <a:cubicBezTo>
                  <a:pt x="1776219" y="1916724"/>
                  <a:pt x="1837296" y="1882514"/>
                  <a:pt x="1871984" y="1826382"/>
                </a:cubicBezTo>
                <a:cubicBezTo>
                  <a:pt x="1906672" y="1770199"/>
                  <a:pt x="1909839" y="1700142"/>
                  <a:pt x="1880346" y="1641179"/>
                </a:cubicBezTo>
                <a:lnTo>
                  <a:pt x="1120206" y="96803"/>
                </a:lnTo>
                <a:cubicBezTo>
                  <a:pt x="1055620" y="-32268"/>
                  <a:pt x="844807" y="-32268"/>
                  <a:pt x="780221" y="96803"/>
                </a:cubicBezTo>
                <a:lnTo>
                  <a:pt x="20081" y="1641179"/>
                </a:lnTo>
                <a:cubicBezTo>
                  <a:pt x="-9412" y="1700142"/>
                  <a:pt x="-6245" y="1770199"/>
                  <a:pt x="28443" y="1826382"/>
                </a:cubicBezTo>
                <a:cubicBezTo>
                  <a:pt x="63130" y="1882514"/>
                  <a:pt x="124208" y="1916724"/>
                  <a:pt x="190074" y="1916724"/>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Org </a:t>
            </a:r>
            <a:b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br>
            <a: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Value</a:t>
            </a:r>
          </a:p>
        </p:txBody>
      </p:sp>
      <p:sp>
        <p:nvSpPr>
          <p:cNvPr id="40" name="Freeform: Shape 48">
            <a:extLst>
              <a:ext uri="{FF2B5EF4-FFF2-40B4-BE49-F238E27FC236}">
                <a16:creationId xmlns:a16="http://schemas.microsoft.com/office/drawing/2014/main" id="{69B8F5CA-1C2D-D859-92A7-8F626BB4CAD0}"/>
              </a:ext>
            </a:extLst>
          </p:cNvPr>
          <p:cNvSpPr/>
          <p:nvPr/>
        </p:nvSpPr>
        <p:spPr>
          <a:xfrm>
            <a:off x="3528123" y="3720503"/>
            <a:ext cx="2059514" cy="937941"/>
          </a:xfrm>
          <a:custGeom>
            <a:avLst/>
            <a:gdLst>
              <a:gd name="connsiteX0" fmla="*/ 780214 w 4180809"/>
              <a:gd name="connsiteY0" fmla="*/ 105219 h 1904017"/>
              <a:gd name="connsiteX1" fmla="*/ 20123 w 4180809"/>
              <a:gd name="connsiteY1" fmla="*/ 1628473 h 1904017"/>
              <a:gd name="connsiteX2" fmla="*/ 28438 w 4180809"/>
              <a:gd name="connsiteY2" fmla="*/ 1813676 h 1904017"/>
              <a:gd name="connsiteX3" fmla="*/ 190117 w 4180809"/>
              <a:gd name="connsiteY3" fmla="*/ 1904017 h 1904017"/>
              <a:gd name="connsiteX4" fmla="*/ 3990714 w 4180809"/>
              <a:gd name="connsiteY4" fmla="*/ 1904017 h 1904017"/>
              <a:gd name="connsiteX5" fmla="*/ 4152396 w 4180809"/>
              <a:gd name="connsiteY5" fmla="*/ 1813676 h 1904017"/>
              <a:gd name="connsiteX6" fmla="*/ 4160707 w 4180809"/>
              <a:gd name="connsiteY6" fmla="*/ 1628473 h 1904017"/>
              <a:gd name="connsiteX7" fmla="*/ 3400567 w 4180809"/>
              <a:gd name="connsiteY7" fmla="*/ 105219 h 1904017"/>
              <a:gd name="connsiteX8" fmla="*/ 3230625 w 4180809"/>
              <a:gd name="connsiteY8" fmla="*/ 0 h 1904017"/>
              <a:gd name="connsiteX9" fmla="*/ 950206 w 4180809"/>
              <a:gd name="connsiteY9" fmla="*/ 0 h 1904017"/>
              <a:gd name="connsiteX10" fmla="*/ 780214 w 4180809"/>
              <a:gd name="connsiteY10" fmla="*/ 105219 h 190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80809" h="1904017">
                <a:moveTo>
                  <a:pt x="780214" y="105219"/>
                </a:moveTo>
                <a:lnTo>
                  <a:pt x="20123" y="1628473"/>
                </a:lnTo>
                <a:cubicBezTo>
                  <a:pt x="-9421" y="1687436"/>
                  <a:pt x="-6254" y="1757493"/>
                  <a:pt x="28438" y="1813676"/>
                </a:cubicBezTo>
                <a:cubicBezTo>
                  <a:pt x="63179" y="1869807"/>
                  <a:pt x="124200" y="1904017"/>
                  <a:pt x="190117" y="1904017"/>
                </a:cubicBezTo>
                <a:lnTo>
                  <a:pt x="3990714" y="1904017"/>
                </a:lnTo>
                <a:cubicBezTo>
                  <a:pt x="4056580" y="1904017"/>
                  <a:pt x="4117657" y="1869807"/>
                  <a:pt x="4152396" y="1813676"/>
                </a:cubicBezTo>
                <a:cubicBezTo>
                  <a:pt x="4187084" y="1757493"/>
                  <a:pt x="4190200" y="1687436"/>
                  <a:pt x="4160707" y="1628473"/>
                </a:cubicBezTo>
                <a:lnTo>
                  <a:pt x="3400567" y="105219"/>
                </a:lnTo>
                <a:cubicBezTo>
                  <a:pt x="3368299" y="40709"/>
                  <a:pt x="3302636" y="0"/>
                  <a:pt x="3230625" y="0"/>
                </a:cubicBezTo>
                <a:lnTo>
                  <a:pt x="950206" y="0"/>
                </a:lnTo>
                <a:cubicBezTo>
                  <a:pt x="878246" y="0"/>
                  <a:pt x="812532" y="40709"/>
                  <a:pt x="780214" y="105219"/>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Functional </a:t>
            </a:r>
            <a:br>
              <a:rPr kumimoji="0" lang="en-US" sz="1600" b="1" i="0" u="none" strike="noStrike" kern="1200" cap="none" spc="0" normalizeH="0" baseline="0" noProof="0" dirty="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br>
            <a:r>
              <a:rPr kumimoji="0" lang="en-US" sz="1600" b="1" i="0" u="none" strike="noStrike" kern="1200" cap="none" spc="0" normalizeH="0" baseline="0" noProof="0" dirty="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Value</a:t>
            </a:r>
          </a:p>
        </p:txBody>
      </p:sp>
      <p:sp>
        <p:nvSpPr>
          <p:cNvPr id="44" name="TextBox 43">
            <a:extLst>
              <a:ext uri="{FF2B5EF4-FFF2-40B4-BE49-F238E27FC236}">
                <a16:creationId xmlns:a16="http://schemas.microsoft.com/office/drawing/2014/main" id="{C9AF1F4F-0411-47FB-052A-93A96167E2C2}"/>
              </a:ext>
            </a:extLst>
          </p:cNvPr>
          <p:cNvSpPr txBox="1">
            <a:spLocks/>
          </p:cNvSpPr>
          <p:nvPr/>
        </p:nvSpPr>
        <p:spPr>
          <a:xfrm>
            <a:off x="6581650" y="2753033"/>
            <a:ext cx="5786812" cy="615553"/>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Autonomous agents</a:t>
            </a:r>
            <a:endParaRPr kumimoji="0" lang="en-US" sz="2000" b="0" i="0" u="none" strike="noStrike" kern="0" cap="none" spc="0" normalizeH="0" baseline="0" noProof="0" dirty="0">
              <a:ln>
                <a:noFill/>
              </a:ln>
              <a:solidFill>
                <a:srgbClr val="1A1A1A"/>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Industry use cases</a:t>
            </a:r>
          </a:p>
        </p:txBody>
      </p:sp>
      <p:sp>
        <p:nvSpPr>
          <p:cNvPr id="54" name="TextBox 53">
            <a:extLst>
              <a:ext uri="{FF2B5EF4-FFF2-40B4-BE49-F238E27FC236}">
                <a16:creationId xmlns:a16="http://schemas.microsoft.com/office/drawing/2014/main" id="{33B96745-28BD-B2E0-E246-0BB14256D55C}"/>
              </a:ext>
            </a:extLst>
          </p:cNvPr>
          <p:cNvSpPr txBox="1">
            <a:spLocks/>
          </p:cNvSpPr>
          <p:nvPr/>
        </p:nvSpPr>
        <p:spPr>
          <a:xfrm>
            <a:off x="6581650" y="3800179"/>
            <a:ext cx="5257423" cy="66684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Role-based agent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Functional use cases</a:t>
            </a:r>
          </a:p>
        </p:txBody>
      </p:sp>
      <p:sp>
        <p:nvSpPr>
          <p:cNvPr id="58" name="Freeform: Shape 50">
            <a:extLst>
              <a:ext uri="{FF2B5EF4-FFF2-40B4-BE49-F238E27FC236}">
                <a16:creationId xmlns:a16="http://schemas.microsoft.com/office/drawing/2014/main" id="{C5A2B28E-5A64-4A9E-98FA-BB295EEFF429}"/>
              </a:ext>
            </a:extLst>
          </p:cNvPr>
          <p:cNvSpPr/>
          <p:nvPr/>
        </p:nvSpPr>
        <p:spPr>
          <a:xfrm>
            <a:off x="2960217" y="4846038"/>
            <a:ext cx="3195326" cy="944219"/>
          </a:xfrm>
          <a:custGeom>
            <a:avLst/>
            <a:gdLst>
              <a:gd name="connsiteX0" fmla="*/ 28446 w 6486503"/>
              <a:gd name="connsiteY0" fmla="*/ 1826369 h 1916761"/>
              <a:gd name="connsiteX1" fmla="*/ 190074 w 6486503"/>
              <a:gd name="connsiteY1" fmla="*/ 1916762 h 1916761"/>
              <a:gd name="connsiteX2" fmla="*/ 6296430 w 6486503"/>
              <a:gd name="connsiteY2" fmla="*/ 1916762 h 1916761"/>
              <a:gd name="connsiteX3" fmla="*/ 6458061 w 6486503"/>
              <a:gd name="connsiteY3" fmla="*/ 1826369 h 1916761"/>
              <a:gd name="connsiteX4" fmla="*/ 6466422 w 6486503"/>
              <a:gd name="connsiteY4" fmla="*/ 1641167 h 1916761"/>
              <a:gd name="connsiteX5" fmla="*/ 5706283 w 6486503"/>
              <a:gd name="connsiteY5" fmla="*/ 105270 h 1916761"/>
              <a:gd name="connsiteX6" fmla="*/ 5536290 w 6486503"/>
              <a:gd name="connsiteY6" fmla="*/ 0 h 1916761"/>
              <a:gd name="connsiteX7" fmla="*/ 950214 w 6486503"/>
              <a:gd name="connsiteY7" fmla="*/ 0 h 1916761"/>
              <a:gd name="connsiteX8" fmla="*/ 780221 w 6486503"/>
              <a:gd name="connsiteY8" fmla="*/ 105270 h 1916761"/>
              <a:gd name="connsiteX9" fmla="*/ 20082 w 6486503"/>
              <a:gd name="connsiteY9" fmla="*/ 1641167 h 1916761"/>
              <a:gd name="connsiteX10" fmla="*/ 28446 w 6486503"/>
              <a:gd name="connsiteY10" fmla="*/ 1826369 h 191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86503" h="1916761">
                <a:moveTo>
                  <a:pt x="28446" y="1826369"/>
                </a:moveTo>
                <a:cubicBezTo>
                  <a:pt x="63137" y="1882552"/>
                  <a:pt x="124206" y="1916762"/>
                  <a:pt x="190074" y="1916762"/>
                </a:cubicBezTo>
                <a:lnTo>
                  <a:pt x="6296430" y="1916762"/>
                </a:lnTo>
                <a:cubicBezTo>
                  <a:pt x="6362296" y="1916762"/>
                  <a:pt x="6423373" y="1882552"/>
                  <a:pt x="6458061" y="1826369"/>
                </a:cubicBezTo>
                <a:cubicBezTo>
                  <a:pt x="6492748" y="1770237"/>
                  <a:pt x="6495916" y="1700130"/>
                  <a:pt x="6466422" y="1641167"/>
                </a:cubicBezTo>
                <a:lnTo>
                  <a:pt x="5706283" y="105270"/>
                </a:lnTo>
                <a:cubicBezTo>
                  <a:pt x="5674015" y="40709"/>
                  <a:pt x="5608300" y="0"/>
                  <a:pt x="5536290" y="0"/>
                </a:cubicBezTo>
                <a:lnTo>
                  <a:pt x="950214" y="0"/>
                </a:lnTo>
                <a:cubicBezTo>
                  <a:pt x="878208" y="0"/>
                  <a:pt x="812488" y="40709"/>
                  <a:pt x="780221" y="105270"/>
                </a:cubicBezTo>
                <a:lnTo>
                  <a:pt x="20082" y="1641167"/>
                </a:lnTo>
                <a:cubicBezTo>
                  <a:pt x="-9413" y="1700130"/>
                  <a:pt x="-6246" y="1770237"/>
                  <a:pt x="28446" y="1826369"/>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Individual </a:t>
            </a:r>
            <a:b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br>
            <a: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Value</a:t>
            </a:r>
          </a:p>
        </p:txBody>
      </p:sp>
      <p:sp>
        <p:nvSpPr>
          <p:cNvPr id="65" name="TextBox 64">
            <a:extLst>
              <a:ext uri="{FF2B5EF4-FFF2-40B4-BE49-F238E27FC236}">
                <a16:creationId xmlns:a16="http://schemas.microsoft.com/office/drawing/2014/main" id="{32A67932-B4E3-7BA1-6370-57B1A46D622E}"/>
              </a:ext>
            </a:extLst>
          </p:cNvPr>
          <p:cNvSpPr txBox="1">
            <a:spLocks/>
          </p:cNvSpPr>
          <p:nvPr/>
        </p:nvSpPr>
        <p:spPr>
          <a:xfrm>
            <a:off x="6581650" y="4984722"/>
            <a:ext cx="5257423" cy="66684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Day in the Life use case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Prompt Gallery</a:t>
            </a:r>
          </a:p>
        </p:txBody>
      </p:sp>
      <p:sp>
        <p:nvSpPr>
          <p:cNvPr id="69" name="Rectangle 68">
            <a:extLst>
              <a:ext uri="{FF2B5EF4-FFF2-40B4-BE49-F238E27FC236}">
                <a16:creationId xmlns:a16="http://schemas.microsoft.com/office/drawing/2014/main" id="{EA46EEC3-5C6B-211E-01F9-F6790ABA582A}"/>
              </a:ext>
              <a:ext uri="{C183D7F6-B498-43B3-948B-1728B52AA6E4}">
                <adec:decorative xmlns:adec="http://schemas.microsoft.com/office/drawing/2017/decorative" val="0"/>
              </a:ext>
            </a:extLst>
          </p:cNvPr>
          <p:cNvSpPr>
            <a:spLocks/>
          </p:cNvSpPr>
          <p:nvPr/>
        </p:nvSpPr>
        <p:spPr bwMode="auto">
          <a:xfrm>
            <a:off x="1260476" y="1434017"/>
            <a:ext cx="9674224" cy="5539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200"/>
              </a:spcAft>
              <a:buClrTx/>
              <a:buSzTx/>
              <a:buFontTx/>
              <a:buNone/>
              <a:tabLst/>
              <a:defRPr/>
            </a:pPr>
            <a:r>
              <a:rPr kumimoji="0" lang="en-US" sz="1800" b="0" i="0" u="none" strike="noStrike" kern="1200" cap="none" spc="0" normalizeH="0" baseline="0" noProof="0">
                <a:ln>
                  <a:noFill/>
                </a:ln>
                <a:gradFill>
                  <a:gsLst>
                    <a:gs pos="48000">
                      <a:srgbClr val="000000"/>
                    </a:gs>
                    <a:gs pos="100000">
                      <a:srgbClr val="000000"/>
                    </a:gs>
                  </a:gsLst>
                  <a:lin ang="10800000" scaled="1"/>
                </a:gradFill>
                <a:effectLst/>
                <a:uLnTx/>
                <a:uFillTx/>
                <a:latin typeface="Segoe UI Semibold"/>
                <a:ea typeface="+mn-ea"/>
                <a:cs typeface="+mn-cs"/>
              </a:rPr>
              <a:t>Grow value from a base of solid usage and individual productivity and then extend through agents to impact organizational KPIs.</a:t>
            </a:r>
          </a:p>
        </p:txBody>
      </p:sp>
    </p:spTree>
    <p:extLst>
      <p:ext uri="{BB962C8B-B14F-4D97-AF65-F5344CB8AC3E}">
        <p14:creationId xmlns:p14="http://schemas.microsoft.com/office/powerpoint/2010/main" val="232381038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F3F909-041C-085F-BB67-1698EA87B446}"/>
            </a:ext>
          </a:extLst>
        </p:cNvPr>
        <p:cNvGrpSpPr/>
        <p:nvPr/>
      </p:nvGrpSpPr>
      <p:grpSpPr>
        <a:xfrm>
          <a:off x="0" y="0"/>
          <a:ext cx="0" cy="0"/>
          <a:chOff x="0" y="0"/>
          <a:chExt cx="0" cy="0"/>
        </a:xfrm>
      </p:grpSpPr>
      <p:sp>
        <p:nvSpPr>
          <p:cNvPr id="45" name="Text Placeholder 44">
            <a:extLst>
              <a:ext uri="{FF2B5EF4-FFF2-40B4-BE49-F238E27FC236}">
                <a16:creationId xmlns:a16="http://schemas.microsoft.com/office/drawing/2014/main" id="{A8A41F91-C9FC-3D8C-6A77-B1058A6E47B1}"/>
              </a:ext>
            </a:extLst>
          </p:cNvPr>
          <p:cNvSpPr>
            <a:spLocks noGrp="1"/>
          </p:cNvSpPr>
          <p:nvPr>
            <p:ph type="body" sz="quarter" idx="42"/>
          </p:nvPr>
        </p:nvSpPr>
        <p:spPr>
          <a:xfrm>
            <a:off x="311388" y="1026303"/>
            <a:ext cx="2431246" cy="1131079"/>
          </a:xfrm>
        </p:spPr>
        <p:txBody>
          <a:bodyPr/>
          <a:lstStyle/>
          <a:p>
            <a:r>
              <a:rPr lang="en-US" noProof="0" dirty="0"/>
              <a:t>Retailers can apply AI to store associate activities to increase efficiency, job satisfaction, and business growth. </a:t>
            </a:r>
          </a:p>
          <a:p>
            <a:endParaRPr lang="en-US" dirty="0"/>
          </a:p>
          <a:p>
            <a:r>
              <a:rPr lang="en-US" sz="1050" noProof="0" dirty="0">
                <a:latin typeface="+mj-lt"/>
              </a:rPr>
              <a:t>Customer reference: </a:t>
            </a:r>
            <a:r>
              <a:rPr lang="en-US" sz="1050" noProof="0" dirty="0">
                <a:hlinkClick r:id="rId3"/>
              </a:rPr>
              <a:t>CP AXTRA amplifies efficiency and optimizes customer service</a:t>
            </a:r>
            <a:endParaRPr lang="en-US" sz="1050" noProof="0" dirty="0"/>
          </a:p>
          <a:p>
            <a:endParaRPr lang="en-US" noProof="0" dirty="0"/>
          </a:p>
          <a:p>
            <a:endParaRPr lang="en-US" noProof="0" dirty="0"/>
          </a:p>
        </p:txBody>
      </p:sp>
      <p:sp>
        <p:nvSpPr>
          <p:cNvPr id="83" name="Text Placeholder 82">
            <a:extLst>
              <a:ext uri="{FF2B5EF4-FFF2-40B4-BE49-F238E27FC236}">
                <a16:creationId xmlns:a16="http://schemas.microsoft.com/office/drawing/2014/main" id="{9BC2A431-91A9-37DB-A317-96102708D9F4}"/>
              </a:ext>
            </a:extLst>
          </p:cNvPr>
          <p:cNvSpPr>
            <a:spLocks noGrp="1"/>
          </p:cNvSpPr>
          <p:nvPr>
            <p:ph type="body" sz="quarter" idx="43"/>
          </p:nvPr>
        </p:nvSpPr>
        <p:spPr>
          <a:xfrm>
            <a:off x="10430351" y="521099"/>
            <a:ext cx="1456966" cy="175614"/>
          </a:xfrm>
        </p:spPr>
        <p:txBody>
          <a:bodyPr/>
          <a:lstStyle/>
          <a:p>
            <a:r>
              <a:rPr lang="en-US" noProof="0" dirty="0"/>
              <a:t>Start</a:t>
            </a:r>
          </a:p>
        </p:txBody>
      </p:sp>
      <p:sp>
        <p:nvSpPr>
          <p:cNvPr id="86" name="Text Placeholder 85">
            <a:extLst>
              <a:ext uri="{FF2B5EF4-FFF2-40B4-BE49-F238E27FC236}">
                <a16:creationId xmlns:a16="http://schemas.microsoft.com/office/drawing/2014/main" id="{0A8757B1-8CA5-0DD3-C873-CB42BB90F654}"/>
              </a:ext>
            </a:extLst>
          </p:cNvPr>
          <p:cNvSpPr>
            <a:spLocks noGrp="1"/>
          </p:cNvSpPr>
          <p:nvPr>
            <p:ph type="body" sz="quarter" idx="44"/>
          </p:nvPr>
        </p:nvSpPr>
        <p:spPr>
          <a:xfrm>
            <a:off x="7149557" y="521100"/>
            <a:ext cx="2969488" cy="169277"/>
          </a:xfrm>
        </p:spPr>
        <p:txBody>
          <a:bodyPr/>
          <a:lstStyle/>
          <a:p>
            <a:r>
              <a:rPr lang="en-US" noProof="0"/>
              <a:t>Microsoft 365 Copilot Chat and Copilot Studio</a:t>
            </a:r>
          </a:p>
        </p:txBody>
      </p:sp>
      <p:sp>
        <p:nvSpPr>
          <p:cNvPr id="23" name="Text Placeholder 22">
            <a:extLst>
              <a:ext uri="{FF2B5EF4-FFF2-40B4-BE49-F238E27FC236}">
                <a16:creationId xmlns:a16="http://schemas.microsoft.com/office/drawing/2014/main" id="{EA4E0900-3306-D1F4-36AD-0C78F3AB6BC2}"/>
              </a:ext>
            </a:extLst>
          </p:cNvPr>
          <p:cNvSpPr>
            <a:spLocks noGrp="1"/>
          </p:cNvSpPr>
          <p:nvPr>
            <p:ph type="body" sz="quarter" idx="46"/>
          </p:nvPr>
        </p:nvSpPr>
        <p:spPr>
          <a:xfrm>
            <a:off x="3182889" y="2725494"/>
            <a:ext cx="2572262" cy="712876"/>
          </a:xfrm>
        </p:spPr>
        <p:txBody>
          <a:bodyPr/>
          <a:lstStyle/>
          <a:p>
            <a:r>
              <a:rPr lang="en-US" noProof="0"/>
              <a:t>Benefit: Help sales associates locate product information easily from the manufacturer’s website.</a:t>
            </a:r>
          </a:p>
        </p:txBody>
      </p:sp>
      <p:sp>
        <p:nvSpPr>
          <p:cNvPr id="90" name="Text Placeholder 89">
            <a:extLst>
              <a:ext uri="{FF2B5EF4-FFF2-40B4-BE49-F238E27FC236}">
                <a16:creationId xmlns:a16="http://schemas.microsoft.com/office/drawing/2014/main" id="{5A462E6D-A55C-C592-AD98-4AFADA9A0514}"/>
              </a:ext>
            </a:extLst>
          </p:cNvPr>
          <p:cNvSpPr>
            <a:spLocks noGrp="1"/>
          </p:cNvSpPr>
          <p:nvPr>
            <p:ph type="body" sz="quarter" idx="47"/>
          </p:nvPr>
        </p:nvSpPr>
        <p:spPr>
          <a:xfrm>
            <a:off x="3182890" y="1112478"/>
            <a:ext cx="2572262" cy="153888"/>
          </a:xfrm>
        </p:spPr>
        <p:txBody>
          <a:bodyPr/>
          <a:lstStyle/>
          <a:p>
            <a:r>
              <a:rPr lang="en-US" noProof="0"/>
              <a:t>Retrieve product details</a:t>
            </a:r>
          </a:p>
        </p:txBody>
      </p:sp>
      <p:sp>
        <p:nvSpPr>
          <p:cNvPr id="91" name="Text Placeholder 90">
            <a:extLst>
              <a:ext uri="{FF2B5EF4-FFF2-40B4-BE49-F238E27FC236}">
                <a16:creationId xmlns:a16="http://schemas.microsoft.com/office/drawing/2014/main" id="{79D1391E-54D1-A116-9E95-1A15205EA38E}"/>
              </a:ext>
            </a:extLst>
          </p:cNvPr>
          <p:cNvSpPr>
            <a:spLocks noGrp="1"/>
          </p:cNvSpPr>
          <p:nvPr>
            <p:ph type="body" sz="quarter" idx="48"/>
          </p:nvPr>
        </p:nvSpPr>
        <p:spPr>
          <a:xfrm>
            <a:off x="3182890" y="1438715"/>
            <a:ext cx="2572262" cy="626701"/>
          </a:xfrm>
        </p:spPr>
        <p:txBody>
          <a:bodyPr/>
          <a:lstStyle/>
          <a:p>
            <a:r>
              <a:rPr lang="en-US" noProof="0"/>
              <a:t>Ask Copilot to retrieve product specifications based on the product/model info provided. </a:t>
            </a:r>
          </a:p>
          <a:p>
            <a:endParaRPr lang="en-US" noProof="0"/>
          </a:p>
        </p:txBody>
      </p:sp>
      <p:sp>
        <p:nvSpPr>
          <p:cNvPr id="93" name="Text Placeholder 92">
            <a:extLst>
              <a:ext uri="{FF2B5EF4-FFF2-40B4-BE49-F238E27FC236}">
                <a16:creationId xmlns:a16="http://schemas.microsoft.com/office/drawing/2014/main" id="{1BE547D6-1A3E-EE9D-3B52-ABEC88353779}"/>
              </a:ext>
            </a:extLst>
          </p:cNvPr>
          <p:cNvSpPr>
            <a:spLocks noGrp="1"/>
          </p:cNvSpPr>
          <p:nvPr>
            <p:ph type="body" sz="quarter" idx="49"/>
          </p:nvPr>
        </p:nvSpPr>
        <p:spPr>
          <a:xfrm>
            <a:off x="6066682" y="1112478"/>
            <a:ext cx="2572262" cy="153888"/>
          </a:xfrm>
        </p:spPr>
        <p:txBody>
          <a:bodyPr/>
          <a:lstStyle/>
          <a:p>
            <a:r>
              <a:rPr lang="en-US" noProof="0"/>
              <a:t>Locate product</a:t>
            </a:r>
          </a:p>
        </p:txBody>
      </p:sp>
      <p:sp>
        <p:nvSpPr>
          <p:cNvPr id="95" name="Text Placeholder 94">
            <a:extLst>
              <a:ext uri="{FF2B5EF4-FFF2-40B4-BE49-F238E27FC236}">
                <a16:creationId xmlns:a16="http://schemas.microsoft.com/office/drawing/2014/main" id="{CABC8879-6BEA-017B-1F97-5FDF5F6E65D6}"/>
              </a:ext>
            </a:extLst>
          </p:cNvPr>
          <p:cNvSpPr>
            <a:spLocks noGrp="1"/>
          </p:cNvSpPr>
          <p:nvPr>
            <p:ph type="body" sz="quarter" idx="50"/>
          </p:nvPr>
        </p:nvSpPr>
        <p:spPr>
          <a:xfrm>
            <a:off x="6066682" y="1438715"/>
            <a:ext cx="2572262" cy="626701"/>
          </a:xfrm>
        </p:spPr>
        <p:txBody>
          <a:bodyPr/>
          <a:lstStyle/>
          <a:p>
            <a:r>
              <a:rPr lang="en-US" noProof="0"/>
              <a:t>Retrieve shelf location and specific aisle where the product is located.</a:t>
            </a:r>
          </a:p>
          <a:p>
            <a:endParaRPr lang="en-US" noProof="0"/>
          </a:p>
        </p:txBody>
      </p:sp>
      <p:sp>
        <p:nvSpPr>
          <p:cNvPr id="102" name="Text Placeholder 101">
            <a:extLst>
              <a:ext uri="{FF2B5EF4-FFF2-40B4-BE49-F238E27FC236}">
                <a16:creationId xmlns:a16="http://schemas.microsoft.com/office/drawing/2014/main" id="{2763A9D9-6C6B-9D4B-7CCB-3622ACF307F4}"/>
              </a:ext>
            </a:extLst>
          </p:cNvPr>
          <p:cNvSpPr>
            <a:spLocks noGrp="1"/>
          </p:cNvSpPr>
          <p:nvPr>
            <p:ph type="body" sz="quarter" idx="67"/>
          </p:nvPr>
        </p:nvSpPr>
        <p:spPr>
          <a:xfrm>
            <a:off x="8950475" y="2725494"/>
            <a:ext cx="2572262" cy="712876"/>
          </a:xfrm>
        </p:spPr>
        <p:txBody>
          <a:bodyPr/>
          <a:lstStyle/>
          <a:p>
            <a:r>
              <a:rPr lang="en-US" noProof="0"/>
              <a:t>Benefit: Increases customer satisfaction by educating them on return policy for the product.</a:t>
            </a:r>
          </a:p>
        </p:txBody>
      </p:sp>
      <p:sp>
        <p:nvSpPr>
          <p:cNvPr id="97" name="Text Placeholder 96">
            <a:extLst>
              <a:ext uri="{FF2B5EF4-FFF2-40B4-BE49-F238E27FC236}">
                <a16:creationId xmlns:a16="http://schemas.microsoft.com/office/drawing/2014/main" id="{AB216D7F-0889-A741-2082-F226A6947D3B}"/>
              </a:ext>
            </a:extLst>
          </p:cNvPr>
          <p:cNvSpPr>
            <a:spLocks noGrp="1"/>
          </p:cNvSpPr>
          <p:nvPr>
            <p:ph type="body" sz="quarter" idx="52"/>
          </p:nvPr>
        </p:nvSpPr>
        <p:spPr>
          <a:xfrm>
            <a:off x="8950475" y="1112478"/>
            <a:ext cx="2572262" cy="153888"/>
          </a:xfrm>
        </p:spPr>
        <p:txBody>
          <a:bodyPr/>
          <a:lstStyle/>
          <a:p>
            <a:r>
              <a:rPr lang="en-US" noProof="0"/>
              <a:t>Assist with return policy</a:t>
            </a:r>
          </a:p>
        </p:txBody>
      </p:sp>
      <p:sp>
        <p:nvSpPr>
          <p:cNvPr id="101" name="Text Placeholder 100">
            <a:extLst>
              <a:ext uri="{FF2B5EF4-FFF2-40B4-BE49-F238E27FC236}">
                <a16:creationId xmlns:a16="http://schemas.microsoft.com/office/drawing/2014/main" id="{DEA57577-A010-1BA8-FA18-3FBF72560BEA}"/>
              </a:ext>
            </a:extLst>
          </p:cNvPr>
          <p:cNvSpPr>
            <a:spLocks noGrp="1"/>
          </p:cNvSpPr>
          <p:nvPr>
            <p:ph type="body" sz="quarter" idx="53"/>
          </p:nvPr>
        </p:nvSpPr>
        <p:spPr>
          <a:xfrm>
            <a:off x="8950475" y="1438715"/>
            <a:ext cx="2572262" cy="626701"/>
          </a:xfrm>
        </p:spPr>
        <p:txBody>
          <a:bodyPr/>
          <a:lstStyle/>
          <a:p>
            <a:r>
              <a:rPr lang="en-US" noProof="0"/>
              <a:t>Sales associate can help customer by using Copilot to retrieve the company return policy for the products under consideration.</a:t>
            </a:r>
          </a:p>
          <a:p>
            <a:endParaRPr lang="en-US" noProof="0"/>
          </a:p>
        </p:txBody>
      </p:sp>
      <p:sp>
        <p:nvSpPr>
          <p:cNvPr id="96" name="Text Placeholder 95">
            <a:extLst>
              <a:ext uri="{FF2B5EF4-FFF2-40B4-BE49-F238E27FC236}">
                <a16:creationId xmlns:a16="http://schemas.microsoft.com/office/drawing/2014/main" id="{6BDA98A8-E599-F609-AC38-B8BB18959DE4}"/>
              </a:ext>
            </a:extLst>
          </p:cNvPr>
          <p:cNvSpPr>
            <a:spLocks noGrp="1"/>
          </p:cNvSpPr>
          <p:nvPr>
            <p:ph type="body" sz="quarter" idx="66"/>
          </p:nvPr>
        </p:nvSpPr>
        <p:spPr>
          <a:xfrm>
            <a:off x="6066682" y="2725494"/>
            <a:ext cx="2572262" cy="712876"/>
          </a:xfrm>
        </p:spPr>
        <p:txBody>
          <a:bodyPr/>
          <a:lstStyle/>
          <a:p>
            <a:r>
              <a:rPr lang="en-US" noProof="0"/>
              <a:t>Benefit: Assists store assistants in finding the exact location, saving time to locate a product.</a:t>
            </a:r>
          </a:p>
        </p:txBody>
      </p:sp>
      <p:sp>
        <p:nvSpPr>
          <p:cNvPr id="103" name="Text Placeholder 102">
            <a:extLst>
              <a:ext uri="{FF2B5EF4-FFF2-40B4-BE49-F238E27FC236}">
                <a16:creationId xmlns:a16="http://schemas.microsoft.com/office/drawing/2014/main" id="{497213D5-8B2E-D4C6-1002-86ABE79D19AE}"/>
              </a:ext>
            </a:extLst>
          </p:cNvPr>
          <p:cNvSpPr>
            <a:spLocks noGrp="1"/>
          </p:cNvSpPr>
          <p:nvPr>
            <p:ph type="body" sz="quarter" idx="58"/>
          </p:nvPr>
        </p:nvSpPr>
        <p:spPr>
          <a:xfrm>
            <a:off x="4036409" y="3725103"/>
            <a:ext cx="3161734" cy="153888"/>
          </a:xfrm>
        </p:spPr>
        <p:txBody>
          <a:bodyPr/>
          <a:lstStyle/>
          <a:p>
            <a:r>
              <a:rPr lang="en-US" noProof="0"/>
              <a:t>Cross selling</a:t>
            </a:r>
          </a:p>
        </p:txBody>
      </p:sp>
      <p:sp>
        <p:nvSpPr>
          <p:cNvPr id="104" name="Text Placeholder 103">
            <a:extLst>
              <a:ext uri="{FF2B5EF4-FFF2-40B4-BE49-F238E27FC236}">
                <a16:creationId xmlns:a16="http://schemas.microsoft.com/office/drawing/2014/main" id="{987F83A4-3B51-EA36-2334-9120CAF80E59}"/>
              </a:ext>
            </a:extLst>
          </p:cNvPr>
          <p:cNvSpPr>
            <a:spLocks noGrp="1"/>
          </p:cNvSpPr>
          <p:nvPr>
            <p:ph type="body" sz="quarter" idx="59"/>
          </p:nvPr>
        </p:nvSpPr>
        <p:spPr>
          <a:xfrm>
            <a:off x="4036409" y="4050957"/>
            <a:ext cx="3161734" cy="626701"/>
          </a:xfrm>
        </p:spPr>
        <p:txBody>
          <a:bodyPr/>
          <a:lstStyle/>
          <a:p>
            <a:r>
              <a:rPr lang="en-US" noProof="0"/>
              <a:t>Sales associate prompts Copilot to suggest items similar that would complement the current order.</a:t>
            </a:r>
          </a:p>
          <a:p>
            <a:endParaRPr lang="en-US" noProof="0"/>
          </a:p>
        </p:txBody>
      </p:sp>
      <p:sp>
        <p:nvSpPr>
          <p:cNvPr id="108" name="Text Placeholder 107">
            <a:extLst>
              <a:ext uri="{FF2B5EF4-FFF2-40B4-BE49-F238E27FC236}">
                <a16:creationId xmlns:a16="http://schemas.microsoft.com/office/drawing/2014/main" id="{91E28EB0-3A72-0BA2-0130-E32BD430AADD}"/>
              </a:ext>
            </a:extLst>
          </p:cNvPr>
          <p:cNvSpPr>
            <a:spLocks noGrp="1"/>
          </p:cNvSpPr>
          <p:nvPr>
            <p:ph type="body" sz="quarter" idx="69"/>
          </p:nvPr>
        </p:nvSpPr>
        <p:spPr>
          <a:xfrm>
            <a:off x="7507483" y="5338502"/>
            <a:ext cx="3161734" cy="712876"/>
          </a:xfrm>
        </p:spPr>
        <p:txBody>
          <a:bodyPr/>
          <a:lstStyle/>
          <a:p>
            <a:r>
              <a:rPr lang="en-US" noProof="0"/>
              <a:t>Benefit: Increases customer satisfaction by suggesting products personalized to them.</a:t>
            </a:r>
          </a:p>
        </p:txBody>
      </p:sp>
      <p:sp>
        <p:nvSpPr>
          <p:cNvPr id="106" name="Text Placeholder 105">
            <a:extLst>
              <a:ext uri="{FF2B5EF4-FFF2-40B4-BE49-F238E27FC236}">
                <a16:creationId xmlns:a16="http://schemas.microsoft.com/office/drawing/2014/main" id="{BC65C395-D024-CD13-43DD-F6BBB515AD89}"/>
              </a:ext>
            </a:extLst>
          </p:cNvPr>
          <p:cNvSpPr>
            <a:spLocks noGrp="1"/>
          </p:cNvSpPr>
          <p:nvPr>
            <p:ph type="body" sz="quarter" idx="61"/>
          </p:nvPr>
        </p:nvSpPr>
        <p:spPr>
          <a:xfrm>
            <a:off x="7507483" y="3725103"/>
            <a:ext cx="3161734" cy="153888"/>
          </a:xfrm>
        </p:spPr>
        <p:txBody>
          <a:bodyPr/>
          <a:lstStyle/>
          <a:p>
            <a:r>
              <a:rPr lang="en-US" noProof="0"/>
              <a:t>Recommendations</a:t>
            </a:r>
          </a:p>
        </p:txBody>
      </p:sp>
      <p:sp>
        <p:nvSpPr>
          <p:cNvPr id="107" name="Text Placeholder 106">
            <a:extLst>
              <a:ext uri="{FF2B5EF4-FFF2-40B4-BE49-F238E27FC236}">
                <a16:creationId xmlns:a16="http://schemas.microsoft.com/office/drawing/2014/main" id="{FF23B7B0-4810-7656-3028-3006E1E0EBCB}"/>
              </a:ext>
            </a:extLst>
          </p:cNvPr>
          <p:cNvSpPr>
            <a:spLocks noGrp="1"/>
          </p:cNvSpPr>
          <p:nvPr>
            <p:ph type="body" sz="quarter" idx="62"/>
          </p:nvPr>
        </p:nvSpPr>
        <p:spPr>
          <a:xfrm>
            <a:off x="7507483" y="4050957"/>
            <a:ext cx="3161734" cy="626701"/>
          </a:xfrm>
        </p:spPr>
        <p:txBody>
          <a:bodyPr/>
          <a:lstStyle/>
          <a:p>
            <a:r>
              <a:rPr lang="en-US" noProof="0"/>
              <a:t>Copilot identifies items for sales associate to suggest based on the customer’s age group, product preference etc.</a:t>
            </a:r>
          </a:p>
          <a:p>
            <a:endParaRPr lang="en-US" noProof="0"/>
          </a:p>
        </p:txBody>
      </p:sp>
      <p:sp>
        <p:nvSpPr>
          <p:cNvPr id="105" name="Text Placeholder 104">
            <a:extLst>
              <a:ext uri="{FF2B5EF4-FFF2-40B4-BE49-F238E27FC236}">
                <a16:creationId xmlns:a16="http://schemas.microsoft.com/office/drawing/2014/main" id="{70490731-C992-C9C3-5875-2BFA3EC01278}"/>
              </a:ext>
            </a:extLst>
          </p:cNvPr>
          <p:cNvSpPr>
            <a:spLocks noGrp="1"/>
          </p:cNvSpPr>
          <p:nvPr>
            <p:ph type="body" sz="quarter" idx="68"/>
          </p:nvPr>
        </p:nvSpPr>
        <p:spPr>
          <a:xfrm>
            <a:off x="4036409" y="5338502"/>
            <a:ext cx="3161734" cy="712876"/>
          </a:xfrm>
        </p:spPr>
        <p:txBody>
          <a:bodyPr/>
          <a:lstStyle/>
          <a:p>
            <a:r>
              <a:rPr lang="en-US" noProof="0"/>
              <a:t>Benefit: Assists store assistants in bundling products that customers are likely to buy, increasing the order value.</a:t>
            </a:r>
          </a:p>
        </p:txBody>
      </p:sp>
      <p:sp>
        <p:nvSpPr>
          <p:cNvPr id="1046" name="Text Placeholder 1045">
            <a:extLst>
              <a:ext uri="{FF2B5EF4-FFF2-40B4-BE49-F238E27FC236}">
                <a16:creationId xmlns:a16="http://schemas.microsoft.com/office/drawing/2014/main" id="{FBF9053D-5961-B0B9-43ED-72D7FA97B5FC}"/>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047" name="Text Placeholder 1046">
            <a:extLst>
              <a:ext uri="{FF2B5EF4-FFF2-40B4-BE49-F238E27FC236}">
                <a16:creationId xmlns:a16="http://schemas.microsoft.com/office/drawing/2014/main" id="{82667AE1-E611-D583-D003-B43F78596825}"/>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77" name="Text Placeholder 76">
            <a:extLst>
              <a:ext uri="{FF2B5EF4-FFF2-40B4-BE49-F238E27FC236}">
                <a16:creationId xmlns:a16="http://schemas.microsoft.com/office/drawing/2014/main" id="{F9CBBEE9-CFAD-B813-2A3E-65738DDBC072}"/>
              </a:ext>
            </a:extLst>
          </p:cNvPr>
          <p:cNvSpPr>
            <a:spLocks noGrp="1"/>
          </p:cNvSpPr>
          <p:nvPr>
            <p:ph type="body" sz="quarter" idx="33"/>
          </p:nvPr>
        </p:nvSpPr>
        <p:spPr>
          <a:xfrm>
            <a:off x="304796" y="413987"/>
            <a:ext cx="1941119" cy="307777"/>
          </a:xfrm>
        </p:spPr>
        <p:txBody>
          <a:bodyPr/>
          <a:lstStyle/>
          <a:p>
            <a:r>
              <a:rPr lang="en-US"/>
              <a:t>Retail</a:t>
            </a:r>
          </a:p>
        </p:txBody>
      </p:sp>
      <p:sp>
        <p:nvSpPr>
          <p:cNvPr id="54" name="Title 53">
            <a:extLst>
              <a:ext uri="{FF2B5EF4-FFF2-40B4-BE49-F238E27FC236}">
                <a16:creationId xmlns:a16="http://schemas.microsoft.com/office/drawing/2014/main" id="{45FA1A60-CFBB-D5A3-8340-C87DF734EC76}"/>
              </a:ext>
            </a:extLst>
          </p:cNvPr>
          <p:cNvSpPr>
            <a:spLocks noGrp="1"/>
          </p:cNvSpPr>
          <p:nvPr>
            <p:ph type="title"/>
          </p:nvPr>
        </p:nvSpPr>
        <p:spPr>
          <a:xfrm>
            <a:off x="2492556" y="429376"/>
            <a:ext cx="4144817" cy="276999"/>
          </a:xfrm>
        </p:spPr>
        <p:txBody>
          <a:bodyPr/>
          <a:lstStyle/>
          <a:p>
            <a:r>
              <a:rPr lang="en-US" noProof="0"/>
              <a:t>Assist store associates</a:t>
            </a:r>
          </a:p>
        </p:txBody>
      </p:sp>
      <p:grpSp>
        <p:nvGrpSpPr>
          <p:cNvPr id="111" name="Group 110">
            <a:extLst>
              <a:ext uri="{FF2B5EF4-FFF2-40B4-BE49-F238E27FC236}">
                <a16:creationId xmlns:a16="http://schemas.microsoft.com/office/drawing/2014/main" id="{C3A8F384-D029-B337-881F-62AA94998427}"/>
              </a:ext>
            </a:extLst>
          </p:cNvPr>
          <p:cNvGrpSpPr/>
          <p:nvPr/>
        </p:nvGrpSpPr>
        <p:grpSpPr>
          <a:xfrm>
            <a:off x="320719" y="5020658"/>
            <a:ext cx="1771605" cy="216000"/>
            <a:chOff x="320719" y="4224856"/>
            <a:chExt cx="1771605" cy="219456"/>
          </a:xfrm>
        </p:grpSpPr>
        <p:sp>
          <p:nvSpPr>
            <p:cNvPr id="112" name="Rectangle: Rounded Corners 6">
              <a:extLst>
                <a:ext uri="{FF2B5EF4-FFF2-40B4-BE49-F238E27FC236}">
                  <a16:creationId xmlns:a16="http://schemas.microsoft.com/office/drawing/2014/main" id="{963226B2-7453-C41D-B6A4-A73DBC829656}"/>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13" name="Graphic 112">
              <a:extLst>
                <a:ext uri="{FF2B5EF4-FFF2-40B4-BE49-F238E27FC236}">
                  <a16:creationId xmlns:a16="http://schemas.microsoft.com/office/drawing/2014/main" id="{11F531EF-E49F-6153-FFE7-8B239CFF593B}"/>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67506" y="4260849"/>
              <a:ext cx="144000" cy="144000"/>
            </a:xfrm>
            <a:prstGeom prst="rect">
              <a:avLst/>
            </a:prstGeom>
          </p:spPr>
        </p:pic>
      </p:grpSp>
      <p:grpSp>
        <p:nvGrpSpPr>
          <p:cNvPr id="118" name="Group 117">
            <a:extLst>
              <a:ext uri="{FF2B5EF4-FFF2-40B4-BE49-F238E27FC236}">
                <a16:creationId xmlns:a16="http://schemas.microsoft.com/office/drawing/2014/main" id="{F31CA29C-F8D0-3126-DD79-614190951A45}"/>
              </a:ext>
            </a:extLst>
          </p:cNvPr>
          <p:cNvGrpSpPr/>
          <p:nvPr/>
        </p:nvGrpSpPr>
        <p:grpSpPr>
          <a:xfrm>
            <a:off x="320721" y="5309272"/>
            <a:ext cx="1771605" cy="216000"/>
            <a:chOff x="320721" y="4517211"/>
            <a:chExt cx="1771605" cy="216000"/>
          </a:xfrm>
        </p:grpSpPr>
        <p:sp>
          <p:nvSpPr>
            <p:cNvPr id="119" name="Rectangle: Rounded Corners 6">
              <a:extLst>
                <a:ext uri="{FF2B5EF4-FFF2-40B4-BE49-F238E27FC236}">
                  <a16:creationId xmlns:a16="http://schemas.microsoft.com/office/drawing/2014/main" id="{656586BB-3847-17B8-AD99-2414E280BC75}"/>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Employee experience</a:t>
              </a:r>
            </a:p>
          </p:txBody>
        </p:sp>
        <p:pic>
          <p:nvPicPr>
            <p:cNvPr id="120" name="Graphic 119">
              <a:extLst>
                <a:ext uri="{FF2B5EF4-FFF2-40B4-BE49-F238E27FC236}">
                  <a16:creationId xmlns:a16="http://schemas.microsoft.com/office/drawing/2014/main" id="{D666100C-D8CE-F3A4-540D-A3F577F73FD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7507" y="4552645"/>
              <a:ext cx="144000" cy="141732"/>
            </a:xfrm>
            <a:prstGeom prst="rect">
              <a:avLst/>
            </a:prstGeom>
          </p:spPr>
        </p:pic>
      </p:grpSp>
      <p:grpSp>
        <p:nvGrpSpPr>
          <p:cNvPr id="121" name="Group 120">
            <a:extLst>
              <a:ext uri="{FF2B5EF4-FFF2-40B4-BE49-F238E27FC236}">
                <a16:creationId xmlns:a16="http://schemas.microsoft.com/office/drawing/2014/main" id="{87F3D289-947B-BF16-91C2-D8856411F7D0}"/>
              </a:ext>
            </a:extLst>
          </p:cNvPr>
          <p:cNvGrpSpPr/>
          <p:nvPr/>
        </p:nvGrpSpPr>
        <p:grpSpPr>
          <a:xfrm>
            <a:off x="320719" y="3778836"/>
            <a:ext cx="1771605" cy="216000"/>
            <a:chOff x="320719" y="4224856"/>
            <a:chExt cx="1771605" cy="219456"/>
          </a:xfrm>
        </p:grpSpPr>
        <p:sp>
          <p:nvSpPr>
            <p:cNvPr id="122" name="Rectangle: Rounded Corners 6">
              <a:extLst>
                <a:ext uri="{FF2B5EF4-FFF2-40B4-BE49-F238E27FC236}">
                  <a16:creationId xmlns:a16="http://schemas.microsoft.com/office/drawing/2014/main" id="{F001080B-3DF7-C115-A5EB-A6C4E0DE41B7}"/>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123" name="Graphic 122">
              <a:extLst>
                <a:ext uri="{FF2B5EF4-FFF2-40B4-BE49-F238E27FC236}">
                  <a16:creationId xmlns:a16="http://schemas.microsoft.com/office/drawing/2014/main" id="{09A41D2A-771E-0A15-1FA0-5C2708538940}"/>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124" name="Group 123">
            <a:extLst>
              <a:ext uri="{FF2B5EF4-FFF2-40B4-BE49-F238E27FC236}">
                <a16:creationId xmlns:a16="http://schemas.microsoft.com/office/drawing/2014/main" id="{C148E439-D08B-2C6A-A04B-EBB7604D318B}"/>
              </a:ext>
            </a:extLst>
          </p:cNvPr>
          <p:cNvGrpSpPr/>
          <p:nvPr/>
        </p:nvGrpSpPr>
        <p:grpSpPr>
          <a:xfrm>
            <a:off x="320721" y="4067450"/>
            <a:ext cx="1771605" cy="216000"/>
            <a:chOff x="320721" y="4517211"/>
            <a:chExt cx="1771605" cy="216000"/>
          </a:xfrm>
        </p:grpSpPr>
        <p:sp>
          <p:nvSpPr>
            <p:cNvPr id="125" name="Rectangle: Rounded Corners 6">
              <a:extLst>
                <a:ext uri="{FF2B5EF4-FFF2-40B4-BE49-F238E27FC236}">
                  <a16:creationId xmlns:a16="http://schemas.microsoft.com/office/drawing/2014/main" id="{B7EF7F68-2358-9179-2887-DD83AC691860}"/>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ustomer satisfaction</a:t>
              </a:r>
            </a:p>
          </p:txBody>
        </p:sp>
        <p:pic>
          <p:nvPicPr>
            <p:cNvPr id="126" name="Graphic 125">
              <a:extLst>
                <a:ext uri="{FF2B5EF4-FFF2-40B4-BE49-F238E27FC236}">
                  <a16:creationId xmlns:a16="http://schemas.microsoft.com/office/drawing/2014/main" id="{317CA223-DA53-6E59-9EB6-86008D1CF6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507" y="4552645"/>
              <a:ext cx="144000" cy="141732"/>
            </a:xfrm>
            <a:prstGeom prst="rect">
              <a:avLst/>
            </a:prstGeom>
          </p:spPr>
        </p:pic>
      </p:grpSp>
      <p:grpSp>
        <p:nvGrpSpPr>
          <p:cNvPr id="127" name="Group 126">
            <a:extLst>
              <a:ext uri="{FF2B5EF4-FFF2-40B4-BE49-F238E27FC236}">
                <a16:creationId xmlns:a16="http://schemas.microsoft.com/office/drawing/2014/main" id="{78E200F4-0493-6F86-24C5-10B582DFFC41}"/>
              </a:ext>
            </a:extLst>
          </p:cNvPr>
          <p:cNvGrpSpPr/>
          <p:nvPr/>
        </p:nvGrpSpPr>
        <p:grpSpPr>
          <a:xfrm>
            <a:off x="320719" y="4356602"/>
            <a:ext cx="1771605" cy="216000"/>
            <a:chOff x="320719" y="4224856"/>
            <a:chExt cx="1771605" cy="219456"/>
          </a:xfrm>
        </p:grpSpPr>
        <p:sp>
          <p:nvSpPr>
            <p:cNvPr id="1024" name="Rectangle: Rounded Corners 6">
              <a:extLst>
                <a:ext uri="{FF2B5EF4-FFF2-40B4-BE49-F238E27FC236}">
                  <a16:creationId xmlns:a16="http://schemas.microsoft.com/office/drawing/2014/main" id="{EBCAAE0B-D36F-993E-9A8A-9F61C9A3C6F0}"/>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Employee churn</a:t>
              </a:r>
            </a:p>
          </p:txBody>
        </p:sp>
        <p:pic>
          <p:nvPicPr>
            <p:cNvPr id="1025" name="Graphic 1024">
              <a:extLst>
                <a:ext uri="{FF2B5EF4-FFF2-40B4-BE49-F238E27FC236}">
                  <a16:creationId xmlns:a16="http://schemas.microsoft.com/office/drawing/2014/main" id="{9DA98BF2-BBB7-670F-C44F-33D341AE036A}"/>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pic>
        <p:nvPicPr>
          <p:cNvPr id="71" name="Picture 70">
            <a:hlinkClick r:id="rId8"/>
            <a:extLst>
              <a:ext uri="{FF2B5EF4-FFF2-40B4-BE49-F238E27FC236}">
                <a16:creationId xmlns:a16="http://schemas.microsoft.com/office/drawing/2014/main" id="{C89A224F-C155-A187-1E23-27455CD27A84}"/>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4037013" y="4853435"/>
            <a:ext cx="224338" cy="215956"/>
          </a:xfrm>
          <a:prstGeom prst="rect">
            <a:avLst/>
          </a:prstGeom>
          <a:ln w="6657" cap="flat">
            <a:noFill/>
            <a:prstDash val="solid"/>
            <a:miter/>
          </a:ln>
          <a:effectLst/>
        </p:spPr>
      </p:pic>
      <p:sp>
        <p:nvSpPr>
          <p:cNvPr id="1049" name="TextBox 1048">
            <a:extLst>
              <a:ext uri="{FF2B5EF4-FFF2-40B4-BE49-F238E27FC236}">
                <a16:creationId xmlns:a16="http://schemas.microsoft.com/office/drawing/2014/main" id="{C1C46FBB-6735-3DCC-8CC7-52096295EA3C}"/>
              </a:ext>
              <a:ext uri="{C183D7F6-B498-43B3-948B-1728B52AA6E4}">
                <adec:decorative xmlns:adec="http://schemas.microsoft.com/office/drawing/2017/decorative" val="0"/>
              </a:ext>
            </a:extLst>
          </p:cNvPr>
          <p:cNvSpPr txBox="1"/>
          <p:nvPr/>
        </p:nvSpPr>
        <p:spPr>
          <a:xfrm>
            <a:off x="6447645" y="2270123"/>
            <a:ext cx="2398798" cy="8979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SharePoint</a:t>
            </a:r>
          </a:p>
        </p:txBody>
      </p:sp>
      <p:pic>
        <p:nvPicPr>
          <p:cNvPr id="73" name="Picture 72">
            <a:extLst>
              <a:ext uri="{FF2B5EF4-FFF2-40B4-BE49-F238E27FC236}">
                <a16:creationId xmlns:a16="http://schemas.microsoft.com/office/drawing/2014/main" id="{13F56CBE-C67D-E99A-070D-AC97B13AC2E2}"/>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6067425" y="2207040"/>
            <a:ext cx="224338" cy="215956"/>
          </a:xfrm>
          <a:prstGeom prst="rect">
            <a:avLst/>
          </a:prstGeom>
          <a:ln w="6657" cap="flat">
            <a:noFill/>
            <a:prstDash val="solid"/>
            <a:miter/>
          </a:ln>
          <a:effectLst/>
        </p:spPr>
      </p:pic>
      <p:sp>
        <p:nvSpPr>
          <p:cNvPr id="1052" name="TextBox 1051">
            <a:extLst>
              <a:ext uri="{FF2B5EF4-FFF2-40B4-BE49-F238E27FC236}">
                <a16:creationId xmlns:a16="http://schemas.microsoft.com/office/drawing/2014/main" id="{959FD716-DEC8-8143-2B5F-AB58D5C866EE}"/>
              </a:ext>
              <a:ext uri="{C183D7F6-B498-43B3-948B-1728B52AA6E4}">
                <adec:decorative xmlns:adec="http://schemas.microsoft.com/office/drawing/2017/decorative" val="0"/>
              </a:ext>
            </a:extLst>
          </p:cNvPr>
          <p:cNvSpPr txBox="1"/>
          <p:nvPr/>
        </p:nvSpPr>
        <p:spPr>
          <a:xfrm>
            <a:off x="4417233" y="4693921"/>
            <a:ext cx="1886867" cy="534984"/>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Agen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nnection to SharePoint</a:t>
            </a:r>
          </a:p>
        </p:txBody>
      </p:sp>
      <p:sp>
        <p:nvSpPr>
          <p:cNvPr id="75" name="TextBox 74">
            <a:extLst>
              <a:ext uri="{FF2B5EF4-FFF2-40B4-BE49-F238E27FC236}">
                <a16:creationId xmlns:a16="http://schemas.microsoft.com/office/drawing/2014/main" id="{2AB158AB-BC65-91E0-A526-B90FBBD67494}"/>
              </a:ext>
              <a:ext uri="{C183D7F6-B498-43B3-948B-1728B52AA6E4}">
                <adec:decorative xmlns:adec="http://schemas.microsoft.com/office/drawing/2017/decorative" val="0"/>
              </a:ext>
            </a:extLst>
          </p:cNvPr>
          <p:cNvSpPr txBox="1"/>
          <p:nvPr/>
        </p:nvSpPr>
        <p:spPr>
          <a:xfrm>
            <a:off x="9329077"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76" name="Picture 50">
            <a:hlinkClick r:id="rId8"/>
            <a:extLst>
              <a:ext uri="{FF2B5EF4-FFF2-40B4-BE49-F238E27FC236}">
                <a16:creationId xmlns:a16="http://schemas.microsoft.com/office/drawing/2014/main" id="{5EB1230E-26CF-D889-557D-521F5186FD6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950475"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78" name="TextBox 77">
            <a:extLst>
              <a:ext uri="{FF2B5EF4-FFF2-40B4-BE49-F238E27FC236}">
                <a16:creationId xmlns:a16="http://schemas.microsoft.com/office/drawing/2014/main" id="{BBCFB16F-8002-DBD3-375A-2C316F66B23A}"/>
              </a:ext>
              <a:ext uri="{C183D7F6-B498-43B3-948B-1728B52AA6E4}">
                <adec:decorative xmlns:adec="http://schemas.microsoft.com/office/drawing/2017/decorative" val="0"/>
              </a:ext>
            </a:extLst>
          </p:cNvPr>
          <p:cNvSpPr txBox="1">
            <a:spLocks/>
          </p:cNvSpPr>
          <p:nvPr/>
        </p:nvSpPr>
        <p:spPr>
          <a:xfrm>
            <a:off x="3552452" y="2251283"/>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79" name="Picture 50">
            <a:hlinkClick r:id="rId8"/>
            <a:extLst>
              <a:ext uri="{FF2B5EF4-FFF2-40B4-BE49-F238E27FC236}">
                <a16:creationId xmlns:a16="http://schemas.microsoft.com/office/drawing/2014/main" id="{A4B9A1CF-9539-0F48-FBEB-C46F15DD3E1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182890"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80" name="TextBox 79">
            <a:extLst>
              <a:ext uri="{FF2B5EF4-FFF2-40B4-BE49-F238E27FC236}">
                <a16:creationId xmlns:a16="http://schemas.microsoft.com/office/drawing/2014/main" id="{2A1CF9FF-DF13-0A9E-C4B4-F7F22EF7E82D}"/>
              </a:ext>
              <a:ext uri="{C183D7F6-B498-43B3-948B-1728B52AA6E4}">
                <adec:decorative xmlns:adec="http://schemas.microsoft.com/office/drawing/2017/decorative" val="0"/>
              </a:ext>
            </a:extLst>
          </p:cNvPr>
          <p:cNvSpPr txBox="1"/>
          <p:nvPr/>
        </p:nvSpPr>
        <p:spPr>
          <a:xfrm>
            <a:off x="7866233" y="488446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81" name="Picture 50">
            <a:hlinkClick r:id="rId8"/>
            <a:extLst>
              <a:ext uri="{FF2B5EF4-FFF2-40B4-BE49-F238E27FC236}">
                <a16:creationId xmlns:a16="http://schemas.microsoft.com/office/drawing/2014/main" id="{A87AE5F0-F95F-C13E-6A03-B946F6B96AD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07483" y="4840226"/>
            <a:ext cx="242374" cy="242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265679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67170C-47B0-3339-B3DB-7F41A937716E}"/>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F390041-3DA6-0BA8-1354-AC506BDB75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23" name="think-cell data - do not delete" hidden="1">
                        <a:extLst>
                          <a:ext uri="{FF2B5EF4-FFF2-40B4-BE49-F238E27FC236}">
                            <a16:creationId xmlns:a16="http://schemas.microsoft.com/office/drawing/2014/main" id="{BF390041-3DA6-0BA8-1354-AC506BDB75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8" name="Text Placeholder 1037">
            <a:extLst>
              <a:ext uri="{FF2B5EF4-FFF2-40B4-BE49-F238E27FC236}">
                <a16:creationId xmlns:a16="http://schemas.microsoft.com/office/drawing/2014/main" id="{1738BB99-4735-868E-E805-6C2E261FAA67}"/>
              </a:ext>
            </a:extLst>
          </p:cNvPr>
          <p:cNvSpPr>
            <a:spLocks noGrp="1"/>
          </p:cNvSpPr>
          <p:nvPr>
            <p:ph type="body" sz="quarter" idx="32"/>
          </p:nvPr>
        </p:nvSpPr>
        <p:spPr>
          <a:xfrm>
            <a:off x="311388" y="1026303"/>
            <a:ext cx="2431246" cy="1131079"/>
          </a:xfrm>
        </p:spPr>
        <p:txBody>
          <a:bodyPr/>
          <a:lstStyle/>
          <a:p>
            <a:r>
              <a:rPr lang="en-US" noProof="0" dirty="0"/>
              <a:t>Retailers can apply AI to store manager activities to improve store operations.</a:t>
            </a:r>
          </a:p>
          <a:p>
            <a:endParaRPr lang="en-US" noProof="0" dirty="0"/>
          </a:p>
        </p:txBody>
      </p:sp>
      <p:sp>
        <p:nvSpPr>
          <p:cNvPr id="76" name="Text Placeholder 75">
            <a:extLst>
              <a:ext uri="{FF2B5EF4-FFF2-40B4-BE49-F238E27FC236}">
                <a16:creationId xmlns:a16="http://schemas.microsoft.com/office/drawing/2014/main" id="{7B38B20D-E601-FA6F-5BDA-ECB1594637CC}"/>
              </a:ext>
            </a:extLst>
          </p:cNvPr>
          <p:cNvSpPr>
            <a:spLocks noGrp="1"/>
          </p:cNvSpPr>
          <p:nvPr>
            <p:ph type="body" sz="quarter" idx="33"/>
          </p:nvPr>
        </p:nvSpPr>
        <p:spPr>
          <a:xfrm>
            <a:off x="304796" y="413987"/>
            <a:ext cx="2057403" cy="307777"/>
          </a:xfrm>
        </p:spPr>
        <p:txBody>
          <a:bodyPr/>
          <a:lstStyle/>
          <a:p>
            <a:r>
              <a:rPr lang="en-US"/>
              <a:t>Retail</a:t>
            </a:r>
          </a:p>
        </p:txBody>
      </p:sp>
      <p:sp>
        <p:nvSpPr>
          <p:cNvPr id="74" name="Text Placeholder 73">
            <a:extLst>
              <a:ext uri="{FF2B5EF4-FFF2-40B4-BE49-F238E27FC236}">
                <a16:creationId xmlns:a16="http://schemas.microsoft.com/office/drawing/2014/main" id="{12F53127-2F78-1CA8-7B1E-92429A2F723B}"/>
              </a:ext>
            </a:extLst>
          </p:cNvPr>
          <p:cNvSpPr>
            <a:spLocks noGrp="1"/>
          </p:cNvSpPr>
          <p:nvPr>
            <p:ph type="body" sz="quarter" idx="30"/>
          </p:nvPr>
        </p:nvSpPr>
        <p:spPr>
          <a:xfrm>
            <a:off x="10430351" y="521099"/>
            <a:ext cx="1456966" cy="175614"/>
          </a:xfrm>
        </p:spPr>
        <p:txBody>
          <a:bodyPr/>
          <a:lstStyle/>
          <a:p>
            <a:r>
              <a:rPr lang="en-US" noProof="0" dirty="0"/>
              <a:t>Start</a:t>
            </a:r>
          </a:p>
        </p:txBody>
      </p:sp>
      <p:sp>
        <p:nvSpPr>
          <p:cNvPr id="72" name="Text Placeholder 71">
            <a:extLst>
              <a:ext uri="{FF2B5EF4-FFF2-40B4-BE49-F238E27FC236}">
                <a16:creationId xmlns:a16="http://schemas.microsoft.com/office/drawing/2014/main" id="{D3BAC106-CDF3-C1D7-01CC-4C26E511676B}"/>
              </a:ext>
            </a:extLst>
          </p:cNvPr>
          <p:cNvSpPr>
            <a:spLocks noGrp="1"/>
          </p:cNvSpPr>
          <p:nvPr>
            <p:ph type="body" sz="quarter" idx="17"/>
          </p:nvPr>
        </p:nvSpPr>
        <p:spPr>
          <a:xfrm>
            <a:off x="7149557" y="521100"/>
            <a:ext cx="2969488" cy="169277"/>
          </a:xfrm>
        </p:spPr>
        <p:txBody>
          <a:bodyPr/>
          <a:lstStyle/>
          <a:p>
            <a:r>
              <a:rPr lang="en-US" noProof="0"/>
              <a:t>Microsoft 365 Copilot Chat</a:t>
            </a:r>
          </a:p>
        </p:txBody>
      </p:sp>
      <p:sp>
        <p:nvSpPr>
          <p:cNvPr id="70" name="Title 69">
            <a:extLst>
              <a:ext uri="{FF2B5EF4-FFF2-40B4-BE49-F238E27FC236}">
                <a16:creationId xmlns:a16="http://schemas.microsoft.com/office/drawing/2014/main" id="{7A3496FC-5AAC-14D6-5DA2-F1193423C000}"/>
              </a:ext>
            </a:extLst>
          </p:cNvPr>
          <p:cNvSpPr>
            <a:spLocks noGrp="1"/>
          </p:cNvSpPr>
          <p:nvPr>
            <p:ph type="title"/>
          </p:nvPr>
        </p:nvSpPr>
        <p:spPr>
          <a:xfrm>
            <a:off x="2492556" y="429376"/>
            <a:ext cx="4144817" cy="276999"/>
          </a:xfrm>
        </p:spPr>
        <p:txBody>
          <a:bodyPr vert="horz"/>
          <a:lstStyle/>
          <a:p>
            <a:r>
              <a:rPr lang="en-US" dirty="0"/>
              <a:t>Assist store managers</a:t>
            </a:r>
          </a:p>
        </p:txBody>
      </p:sp>
      <p:sp>
        <p:nvSpPr>
          <p:cNvPr id="89" name="Text Placeholder 88">
            <a:extLst>
              <a:ext uri="{FF2B5EF4-FFF2-40B4-BE49-F238E27FC236}">
                <a16:creationId xmlns:a16="http://schemas.microsoft.com/office/drawing/2014/main" id="{B97B5AE0-4D07-F616-84C3-6298D5D5B7D8}"/>
              </a:ext>
            </a:extLst>
          </p:cNvPr>
          <p:cNvSpPr>
            <a:spLocks noGrp="1"/>
          </p:cNvSpPr>
          <p:nvPr>
            <p:ph type="body" sz="quarter" idx="69"/>
          </p:nvPr>
        </p:nvSpPr>
        <p:spPr>
          <a:xfrm>
            <a:off x="3182890" y="2725494"/>
            <a:ext cx="2572262" cy="712876"/>
          </a:xfrm>
        </p:spPr>
        <p:txBody>
          <a:bodyPr/>
          <a:lstStyle/>
          <a:p>
            <a:r>
              <a:rPr lang="en-US" dirty="0"/>
              <a:t>Example prompt: Create a schedule template for team members' shifts.</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5"/>
              </a:rPr>
              <a:t>Try in Prompt Gallery: Manage shift schedules</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dirty="0"/>
          </a:p>
        </p:txBody>
      </p:sp>
      <p:sp>
        <p:nvSpPr>
          <p:cNvPr id="71" name="Text Placeholder 70">
            <a:extLst>
              <a:ext uri="{FF2B5EF4-FFF2-40B4-BE49-F238E27FC236}">
                <a16:creationId xmlns:a16="http://schemas.microsoft.com/office/drawing/2014/main" id="{B1E13445-ECF1-9442-07BD-C5B54B662E34}"/>
              </a:ext>
            </a:extLst>
          </p:cNvPr>
          <p:cNvSpPr>
            <a:spLocks noGrp="1"/>
          </p:cNvSpPr>
          <p:nvPr>
            <p:ph type="body" sz="quarter" idx="11"/>
          </p:nvPr>
        </p:nvSpPr>
        <p:spPr>
          <a:xfrm>
            <a:off x="3182890" y="1112478"/>
            <a:ext cx="2572262" cy="153888"/>
          </a:xfrm>
        </p:spPr>
        <p:txBody>
          <a:bodyPr/>
          <a:lstStyle/>
          <a:p>
            <a:r>
              <a:rPr lang="en-US" noProof="0"/>
              <a:t>Manage team shifts</a:t>
            </a:r>
          </a:p>
        </p:txBody>
      </p:sp>
      <p:sp>
        <p:nvSpPr>
          <p:cNvPr id="73" name="Text Placeholder 72">
            <a:extLst>
              <a:ext uri="{FF2B5EF4-FFF2-40B4-BE49-F238E27FC236}">
                <a16:creationId xmlns:a16="http://schemas.microsoft.com/office/drawing/2014/main" id="{828FE815-CE5B-33FF-D63F-377F5461A43B}"/>
              </a:ext>
            </a:extLst>
          </p:cNvPr>
          <p:cNvSpPr>
            <a:spLocks noGrp="1"/>
          </p:cNvSpPr>
          <p:nvPr>
            <p:ph type="body" sz="quarter" idx="18"/>
          </p:nvPr>
        </p:nvSpPr>
        <p:spPr>
          <a:xfrm>
            <a:off x="3182890" y="1438715"/>
            <a:ext cx="2572262" cy="626701"/>
          </a:xfrm>
        </p:spPr>
        <p:txBody>
          <a:bodyPr/>
          <a:lstStyle/>
          <a:p>
            <a:r>
              <a:rPr lang="en-US" noProof="0"/>
              <a:t>Use Copilot to create a template for shift scheduling.</a:t>
            </a:r>
          </a:p>
          <a:p>
            <a:endParaRPr lang="en-US" noProof="0"/>
          </a:p>
        </p:txBody>
      </p:sp>
      <p:sp>
        <p:nvSpPr>
          <p:cNvPr id="78" name="Text Placeholder 77">
            <a:extLst>
              <a:ext uri="{FF2B5EF4-FFF2-40B4-BE49-F238E27FC236}">
                <a16:creationId xmlns:a16="http://schemas.microsoft.com/office/drawing/2014/main" id="{40A71FA3-FC97-2051-545E-CE3F69400B69}"/>
              </a:ext>
            </a:extLst>
          </p:cNvPr>
          <p:cNvSpPr>
            <a:spLocks noGrp="1"/>
          </p:cNvSpPr>
          <p:nvPr>
            <p:ph type="body" sz="quarter" idx="42"/>
          </p:nvPr>
        </p:nvSpPr>
        <p:spPr>
          <a:xfrm>
            <a:off x="6066682" y="1112478"/>
            <a:ext cx="2572262" cy="153888"/>
          </a:xfrm>
        </p:spPr>
        <p:txBody>
          <a:bodyPr/>
          <a:lstStyle/>
          <a:p>
            <a:r>
              <a:rPr lang="en-US" noProof="0"/>
              <a:t>Create an employee survey</a:t>
            </a:r>
          </a:p>
        </p:txBody>
      </p:sp>
      <p:sp>
        <p:nvSpPr>
          <p:cNvPr id="79" name="Text Placeholder 78">
            <a:extLst>
              <a:ext uri="{FF2B5EF4-FFF2-40B4-BE49-F238E27FC236}">
                <a16:creationId xmlns:a16="http://schemas.microsoft.com/office/drawing/2014/main" id="{2FC3F9AF-2241-AEF0-F836-7F0EB8B8C03A}"/>
              </a:ext>
            </a:extLst>
          </p:cNvPr>
          <p:cNvSpPr>
            <a:spLocks noGrp="1"/>
          </p:cNvSpPr>
          <p:nvPr>
            <p:ph type="body" sz="quarter" idx="43"/>
          </p:nvPr>
        </p:nvSpPr>
        <p:spPr>
          <a:xfrm>
            <a:off x="6066682" y="1438715"/>
            <a:ext cx="2572262" cy="626701"/>
          </a:xfrm>
        </p:spPr>
        <p:txBody>
          <a:bodyPr/>
          <a:lstStyle/>
          <a:p>
            <a:r>
              <a:rPr lang="en-US" noProof="0"/>
              <a:t>Ask Copilot to help you create a survey to get employee feedback and suggestions to improve store operations or any other topics.</a:t>
            </a:r>
          </a:p>
          <a:p>
            <a:endParaRPr lang="en-US" noProof="0"/>
          </a:p>
        </p:txBody>
      </p:sp>
      <p:sp>
        <p:nvSpPr>
          <p:cNvPr id="83" name="Text Placeholder 82">
            <a:extLst>
              <a:ext uri="{FF2B5EF4-FFF2-40B4-BE49-F238E27FC236}">
                <a16:creationId xmlns:a16="http://schemas.microsoft.com/office/drawing/2014/main" id="{BF466554-133A-7587-94EA-9FC6ED8751A0}"/>
              </a:ext>
            </a:extLst>
          </p:cNvPr>
          <p:cNvSpPr>
            <a:spLocks noGrp="1"/>
          </p:cNvSpPr>
          <p:nvPr>
            <p:ph type="body" sz="quarter" idx="68"/>
          </p:nvPr>
        </p:nvSpPr>
        <p:spPr>
          <a:xfrm>
            <a:off x="8950475" y="2725494"/>
            <a:ext cx="2572262" cy="712876"/>
          </a:xfrm>
        </p:spPr>
        <p:txBody>
          <a:bodyPr/>
          <a:lstStyle/>
          <a:p>
            <a:r>
              <a:rPr lang="en-US" noProof="0" dirty="0"/>
              <a:t>Example prompt: Compose an email to my [store employees] informing them about a change in [employee policy and contractual terms].</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6"/>
              </a:rPr>
              <a:t>Try in Prompt Gallery: Communicate company policy to employees</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noProof="0" dirty="0"/>
          </a:p>
        </p:txBody>
      </p:sp>
      <p:sp>
        <p:nvSpPr>
          <p:cNvPr id="81" name="Text Placeholder 80">
            <a:extLst>
              <a:ext uri="{FF2B5EF4-FFF2-40B4-BE49-F238E27FC236}">
                <a16:creationId xmlns:a16="http://schemas.microsoft.com/office/drawing/2014/main" id="{30C8940F-CCD4-5B11-0AB3-74E28BCB0CDF}"/>
              </a:ext>
            </a:extLst>
          </p:cNvPr>
          <p:cNvSpPr>
            <a:spLocks noGrp="1"/>
          </p:cNvSpPr>
          <p:nvPr>
            <p:ph type="body" sz="quarter" idx="45"/>
          </p:nvPr>
        </p:nvSpPr>
        <p:spPr>
          <a:xfrm>
            <a:off x="8950475" y="1112478"/>
            <a:ext cx="2572262" cy="153888"/>
          </a:xfrm>
        </p:spPr>
        <p:txBody>
          <a:bodyPr/>
          <a:lstStyle/>
          <a:p>
            <a:r>
              <a:rPr lang="en-US" noProof="0"/>
              <a:t>Communicate policies</a:t>
            </a:r>
          </a:p>
        </p:txBody>
      </p:sp>
      <p:sp>
        <p:nvSpPr>
          <p:cNvPr id="82" name="Text Placeholder 81">
            <a:extLst>
              <a:ext uri="{FF2B5EF4-FFF2-40B4-BE49-F238E27FC236}">
                <a16:creationId xmlns:a16="http://schemas.microsoft.com/office/drawing/2014/main" id="{64EE8F08-A033-05F5-095C-C5E92E856A62}"/>
              </a:ext>
            </a:extLst>
          </p:cNvPr>
          <p:cNvSpPr>
            <a:spLocks noGrp="1"/>
          </p:cNvSpPr>
          <p:nvPr>
            <p:ph type="body" sz="quarter" idx="46"/>
          </p:nvPr>
        </p:nvSpPr>
        <p:spPr>
          <a:xfrm>
            <a:off x="8950475" y="1438715"/>
            <a:ext cx="2572262" cy="626701"/>
          </a:xfrm>
        </p:spPr>
        <p:txBody>
          <a:bodyPr/>
          <a:lstStyle/>
          <a:p>
            <a:r>
              <a:rPr lang="en-US" noProof="0"/>
              <a:t>Ask Copilot to review a policy document and then create an email to employees about any changes.</a:t>
            </a:r>
          </a:p>
          <a:p>
            <a:endParaRPr lang="en-US" noProof="0"/>
          </a:p>
        </p:txBody>
      </p:sp>
      <p:sp>
        <p:nvSpPr>
          <p:cNvPr id="92" name="Text Placeholder 91">
            <a:extLst>
              <a:ext uri="{FF2B5EF4-FFF2-40B4-BE49-F238E27FC236}">
                <a16:creationId xmlns:a16="http://schemas.microsoft.com/office/drawing/2014/main" id="{72B2E167-0568-B638-5A30-2D990491FA88}"/>
              </a:ext>
            </a:extLst>
          </p:cNvPr>
          <p:cNvSpPr>
            <a:spLocks noGrp="1"/>
          </p:cNvSpPr>
          <p:nvPr>
            <p:ph type="body" sz="quarter" idx="70"/>
          </p:nvPr>
        </p:nvSpPr>
        <p:spPr>
          <a:xfrm>
            <a:off x="6066682" y="2725494"/>
            <a:ext cx="2572262" cy="712876"/>
          </a:xfrm>
        </p:spPr>
        <p:txBody>
          <a:bodyPr/>
          <a:lstStyle/>
          <a:p>
            <a:r>
              <a:rPr lang="en-US" noProof="0" dirty="0"/>
              <a:t>Example prompt: Create a survey template which helps capture and understand the motivation levels of store employees.</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7"/>
              </a:rPr>
              <a:t>Try in Prompt Gallery: Build an employee survey</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noProof="0" dirty="0"/>
          </a:p>
        </p:txBody>
      </p:sp>
      <p:sp>
        <p:nvSpPr>
          <p:cNvPr id="84" name="Text Placeholder 83">
            <a:extLst>
              <a:ext uri="{FF2B5EF4-FFF2-40B4-BE49-F238E27FC236}">
                <a16:creationId xmlns:a16="http://schemas.microsoft.com/office/drawing/2014/main" id="{BD541B50-D69A-0A44-8DE9-A4FF7B825D03}"/>
              </a:ext>
            </a:extLst>
          </p:cNvPr>
          <p:cNvSpPr>
            <a:spLocks noGrp="1"/>
          </p:cNvSpPr>
          <p:nvPr>
            <p:ph type="body" sz="quarter" idx="48"/>
          </p:nvPr>
        </p:nvSpPr>
        <p:spPr>
          <a:xfrm>
            <a:off x="3182890" y="5334522"/>
            <a:ext cx="2572262" cy="712876"/>
          </a:xfrm>
        </p:spPr>
        <p:txBody>
          <a:bodyPr/>
          <a:lstStyle/>
          <a:p>
            <a:r>
              <a:rPr lang="en-US" noProof="0" dirty="0"/>
              <a:t>Example prompt: How should I ensure displays are set up according to the [planogram.pdf] for effective merchandising and space optimization?</a:t>
            </a:r>
          </a:p>
          <a:p>
            <a:r>
              <a:rPr kumimoji="0" lang="en-US" sz="900" b="0" i="0" u="none" strike="noStrike" kern="1200" cap="none" spc="0" normalizeH="0" baseline="0" noProof="0" dirty="0">
                <a:ln>
                  <a:noFill/>
                </a:ln>
                <a:solidFill>
                  <a:srgbClr val="1A1A1A"/>
                </a:solidFill>
                <a:effectLst/>
                <a:uLnTx/>
                <a:uFillTx/>
                <a:latin typeface="Segoe UI"/>
                <a:ea typeface="+mn-ea"/>
                <a:cs typeface="Segoe UI" pitchFamily="34" charset="0"/>
                <a:hlinkClick r:id="rId8"/>
              </a:rPr>
              <a:t>Try in Prompt Gallery: Ensure planogram compliance</a:t>
            </a:r>
            <a:endParaRPr kumimoji="0" lang="en-US" sz="900" b="0" i="0" u="none" strike="noStrike" kern="1200" cap="none" spc="0" normalizeH="0" baseline="0" noProof="0" dirty="0">
              <a:ln>
                <a:noFill/>
              </a:ln>
              <a:solidFill>
                <a:srgbClr val="1A1A1A"/>
              </a:solidFill>
              <a:effectLst/>
              <a:uLnTx/>
              <a:uFillTx/>
              <a:latin typeface="Segoe UI"/>
              <a:ea typeface="+mn-ea"/>
              <a:cs typeface="Segoe UI" pitchFamily="34" charset="0"/>
            </a:endParaRPr>
          </a:p>
          <a:p>
            <a:endParaRPr lang="en-US" noProof="0" dirty="0"/>
          </a:p>
        </p:txBody>
      </p:sp>
      <p:sp>
        <p:nvSpPr>
          <p:cNvPr id="85" name="Text Placeholder 84">
            <a:extLst>
              <a:ext uri="{FF2B5EF4-FFF2-40B4-BE49-F238E27FC236}">
                <a16:creationId xmlns:a16="http://schemas.microsoft.com/office/drawing/2014/main" id="{45F498B7-FA65-3283-F4D0-DD331E7E788F}"/>
              </a:ext>
            </a:extLst>
          </p:cNvPr>
          <p:cNvSpPr>
            <a:spLocks noGrp="1"/>
          </p:cNvSpPr>
          <p:nvPr>
            <p:ph type="body" sz="quarter" idx="49"/>
          </p:nvPr>
        </p:nvSpPr>
        <p:spPr>
          <a:xfrm>
            <a:off x="3182890" y="3725103"/>
            <a:ext cx="2572262" cy="153888"/>
          </a:xfrm>
        </p:spPr>
        <p:txBody>
          <a:bodyPr/>
          <a:lstStyle/>
          <a:p>
            <a:r>
              <a:rPr lang="en-US" noProof="0"/>
              <a:t>Improve display setup</a:t>
            </a:r>
          </a:p>
        </p:txBody>
      </p:sp>
      <p:sp>
        <p:nvSpPr>
          <p:cNvPr id="86" name="Text Placeholder 85">
            <a:extLst>
              <a:ext uri="{FF2B5EF4-FFF2-40B4-BE49-F238E27FC236}">
                <a16:creationId xmlns:a16="http://schemas.microsoft.com/office/drawing/2014/main" id="{420DC51A-F269-6722-6F82-9846F4465198}"/>
              </a:ext>
            </a:extLst>
          </p:cNvPr>
          <p:cNvSpPr>
            <a:spLocks noGrp="1"/>
          </p:cNvSpPr>
          <p:nvPr>
            <p:ph type="body" sz="quarter" idx="50"/>
          </p:nvPr>
        </p:nvSpPr>
        <p:spPr>
          <a:xfrm>
            <a:off x="3182890" y="4050957"/>
            <a:ext cx="2572262" cy="626701"/>
          </a:xfrm>
        </p:spPr>
        <p:txBody>
          <a:bodyPr/>
          <a:lstStyle/>
          <a:p>
            <a:r>
              <a:rPr lang="en-US" noProof="0"/>
              <a:t>Use Copilot to create strategies and procedures to handle planogram updates.</a:t>
            </a:r>
          </a:p>
          <a:p>
            <a:endParaRPr lang="en-US" noProof="0"/>
          </a:p>
        </p:txBody>
      </p:sp>
      <p:sp>
        <p:nvSpPr>
          <p:cNvPr id="87" name="Text Placeholder 86">
            <a:extLst>
              <a:ext uri="{FF2B5EF4-FFF2-40B4-BE49-F238E27FC236}">
                <a16:creationId xmlns:a16="http://schemas.microsoft.com/office/drawing/2014/main" id="{BA498DE7-8D1A-682B-7B58-A5541ACDB003}"/>
              </a:ext>
            </a:extLst>
          </p:cNvPr>
          <p:cNvSpPr>
            <a:spLocks noGrp="1"/>
          </p:cNvSpPr>
          <p:nvPr>
            <p:ph type="body" sz="quarter" idx="51"/>
          </p:nvPr>
        </p:nvSpPr>
        <p:spPr>
          <a:xfrm>
            <a:off x="6066682" y="3725103"/>
            <a:ext cx="2572262" cy="153888"/>
          </a:xfrm>
        </p:spPr>
        <p:txBody>
          <a:bodyPr/>
          <a:lstStyle/>
          <a:p>
            <a:r>
              <a:rPr lang="en-US" noProof="0"/>
              <a:t>Summarize daily notes</a:t>
            </a:r>
          </a:p>
        </p:txBody>
      </p:sp>
      <p:sp>
        <p:nvSpPr>
          <p:cNvPr id="88" name="Text Placeholder 87">
            <a:extLst>
              <a:ext uri="{FF2B5EF4-FFF2-40B4-BE49-F238E27FC236}">
                <a16:creationId xmlns:a16="http://schemas.microsoft.com/office/drawing/2014/main" id="{259C0F68-27DA-22AD-9539-9C21A8885570}"/>
              </a:ext>
            </a:extLst>
          </p:cNvPr>
          <p:cNvSpPr>
            <a:spLocks noGrp="1"/>
          </p:cNvSpPr>
          <p:nvPr>
            <p:ph type="body" sz="quarter" idx="52"/>
          </p:nvPr>
        </p:nvSpPr>
        <p:spPr>
          <a:xfrm>
            <a:off x="6066682" y="4050957"/>
            <a:ext cx="2572262" cy="626701"/>
          </a:xfrm>
        </p:spPr>
        <p:txBody>
          <a:bodyPr/>
          <a:lstStyle/>
          <a:p>
            <a:r>
              <a:rPr lang="en-US" noProof="0"/>
              <a:t>Use Copilot to turn a few short bullet points about the day’s activities into a well-written summary report.</a:t>
            </a:r>
          </a:p>
          <a:p>
            <a:endParaRPr lang="en-US" noProof="0"/>
          </a:p>
        </p:txBody>
      </p:sp>
      <p:sp>
        <p:nvSpPr>
          <p:cNvPr id="77" name="Text Placeholder 76">
            <a:extLst>
              <a:ext uri="{FF2B5EF4-FFF2-40B4-BE49-F238E27FC236}">
                <a16:creationId xmlns:a16="http://schemas.microsoft.com/office/drawing/2014/main" id="{BB10DC17-C94A-65ED-BED0-A53E5A187BEA}"/>
              </a:ext>
            </a:extLst>
          </p:cNvPr>
          <p:cNvSpPr>
            <a:spLocks noGrp="1"/>
          </p:cNvSpPr>
          <p:nvPr>
            <p:ph type="body" sz="quarter" idx="66"/>
          </p:nvPr>
        </p:nvSpPr>
        <p:spPr>
          <a:xfrm>
            <a:off x="8950475" y="5334522"/>
            <a:ext cx="2572262" cy="712876"/>
          </a:xfrm>
        </p:spPr>
        <p:txBody>
          <a:bodyPr/>
          <a:lstStyle/>
          <a:p>
            <a:r>
              <a:rPr lang="en-US" noProof="0" dirty="0"/>
              <a:t>Example prompt: Help me plan for a store visit.</a:t>
            </a:r>
          </a:p>
          <a:p>
            <a:r>
              <a:rPr kumimoji="0" lang="en-US" sz="900" b="0" i="0" u="none" strike="noStrike" kern="1200" cap="none" spc="0" normalizeH="0" baseline="0" noProof="0" dirty="0">
                <a:ln>
                  <a:noFill/>
                </a:ln>
                <a:solidFill>
                  <a:srgbClr val="1A1A1A"/>
                </a:solidFill>
                <a:effectLst/>
                <a:uLnTx/>
                <a:uFillTx/>
                <a:latin typeface="Segoe UI"/>
                <a:ea typeface="+mn-ea"/>
                <a:cs typeface="Segoe UI" pitchFamily="34" charset="0"/>
                <a:hlinkClick r:id="rId9"/>
              </a:rPr>
              <a:t>Try in Prompt Gallery: Plan a store visit</a:t>
            </a:r>
            <a:endParaRPr kumimoji="0" lang="en-US" sz="900" b="0" i="0" u="none" strike="noStrike" kern="1200" cap="none" spc="0" normalizeH="0" baseline="0" noProof="0" dirty="0">
              <a:ln>
                <a:noFill/>
              </a:ln>
              <a:solidFill>
                <a:srgbClr val="1A1A1A"/>
              </a:solidFill>
              <a:effectLst/>
              <a:uLnTx/>
              <a:uFillTx/>
              <a:latin typeface="Segoe UI"/>
              <a:ea typeface="+mn-ea"/>
              <a:cs typeface="Segoe UI" pitchFamily="34" charset="0"/>
            </a:endParaRPr>
          </a:p>
          <a:p>
            <a:endParaRPr lang="en-US" noProof="0" dirty="0"/>
          </a:p>
        </p:txBody>
      </p:sp>
      <p:sp>
        <p:nvSpPr>
          <p:cNvPr id="90" name="Text Placeholder 89">
            <a:extLst>
              <a:ext uri="{FF2B5EF4-FFF2-40B4-BE49-F238E27FC236}">
                <a16:creationId xmlns:a16="http://schemas.microsoft.com/office/drawing/2014/main" id="{7F891D57-5D82-B63B-464F-08A9EE0D7158}"/>
              </a:ext>
            </a:extLst>
          </p:cNvPr>
          <p:cNvSpPr>
            <a:spLocks noGrp="1"/>
          </p:cNvSpPr>
          <p:nvPr>
            <p:ph type="body" sz="quarter" idx="54"/>
          </p:nvPr>
        </p:nvSpPr>
        <p:spPr>
          <a:xfrm>
            <a:off x="8950475" y="3725103"/>
            <a:ext cx="2572262" cy="153888"/>
          </a:xfrm>
        </p:spPr>
        <p:txBody>
          <a:bodyPr/>
          <a:lstStyle/>
          <a:p>
            <a:r>
              <a:rPr lang="en-US" noProof="0"/>
              <a:t>Plan a store visit</a:t>
            </a:r>
          </a:p>
        </p:txBody>
      </p:sp>
      <p:sp>
        <p:nvSpPr>
          <p:cNvPr id="91" name="Text Placeholder 90">
            <a:extLst>
              <a:ext uri="{FF2B5EF4-FFF2-40B4-BE49-F238E27FC236}">
                <a16:creationId xmlns:a16="http://schemas.microsoft.com/office/drawing/2014/main" id="{E11907F8-79EC-9907-64D6-BE173E71976D}"/>
              </a:ext>
            </a:extLst>
          </p:cNvPr>
          <p:cNvSpPr>
            <a:spLocks noGrp="1"/>
          </p:cNvSpPr>
          <p:nvPr>
            <p:ph type="body" sz="quarter" idx="55"/>
          </p:nvPr>
        </p:nvSpPr>
        <p:spPr>
          <a:xfrm>
            <a:off x="8950475" y="4050957"/>
            <a:ext cx="2572262" cy="626701"/>
          </a:xfrm>
        </p:spPr>
        <p:txBody>
          <a:bodyPr/>
          <a:lstStyle/>
          <a:p>
            <a:r>
              <a:rPr lang="en-US" noProof="0"/>
              <a:t>Use Copilot to generate a checklist for a store visit based on a procedure document.</a:t>
            </a:r>
          </a:p>
          <a:p>
            <a:endParaRPr lang="en-US" noProof="0"/>
          </a:p>
        </p:txBody>
      </p:sp>
      <p:sp>
        <p:nvSpPr>
          <p:cNvPr id="80" name="Text Placeholder 79">
            <a:extLst>
              <a:ext uri="{FF2B5EF4-FFF2-40B4-BE49-F238E27FC236}">
                <a16:creationId xmlns:a16="http://schemas.microsoft.com/office/drawing/2014/main" id="{40B3B6C4-39C1-2D9A-6BD4-4F0B74AEB292}"/>
              </a:ext>
            </a:extLst>
          </p:cNvPr>
          <p:cNvSpPr>
            <a:spLocks noGrp="1"/>
          </p:cNvSpPr>
          <p:nvPr>
            <p:ph type="body" sz="quarter" idx="67"/>
          </p:nvPr>
        </p:nvSpPr>
        <p:spPr>
          <a:xfrm>
            <a:off x="6067425" y="5334000"/>
            <a:ext cx="2571750" cy="712788"/>
          </a:xfrm>
        </p:spPr>
        <p:txBody>
          <a:bodyPr/>
          <a:lstStyle/>
          <a:p>
            <a:r>
              <a:rPr lang="en-US" noProof="0" dirty="0"/>
              <a:t>Example prompt: Summarize these end-of-day store notes [list of activities].</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10"/>
              </a:rPr>
              <a:t>Try in Prompt Gallery: Summarize end-of-day notes</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noProof="0" dirty="0"/>
          </a:p>
        </p:txBody>
      </p:sp>
      <p:sp>
        <p:nvSpPr>
          <p:cNvPr id="1039" name="Text Placeholder 1038">
            <a:extLst>
              <a:ext uri="{FF2B5EF4-FFF2-40B4-BE49-F238E27FC236}">
                <a16:creationId xmlns:a16="http://schemas.microsoft.com/office/drawing/2014/main" id="{EA49ACB1-C132-49C6-FCB5-F9915C1FA372}"/>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040" name="Text Placeholder 1039">
            <a:extLst>
              <a:ext uri="{FF2B5EF4-FFF2-40B4-BE49-F238E27FC236}">
                <a16:creationId xmlns:a16="http://schemas.microsoft.com/office/drawing/2014/main" id="{B68CDE3D-BAF4-EB02-7FBC-2D2BCB80B3FD}"/>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1047" name="Group 1046">
            <a:extLst>
              <a:ext uri="{FF2B5EF4-FFF2-40B4-BE49-F238E27FC236}">
                <a16:creationId xmlns:a16="http://schemas.microsoft.com/office/drawing/2014/main" id="{5570EACF-27F5-D806-BC7B-0A6B0224F501}"/>
              </a:ext>
            </a:extLst>
          </p:cNvPr>
          <p:cNvGrpSpPr/>
          <p:nvPr/>
        </p:nvGrpSpPr>
        <p:grpSpPr>
          <a:xfrm>
            <a:off x="320719" y="5020658"/>
            <a:ext cx="1771605" cy="216000"/>
            <a:chOff x="320719" y="4224856"/>
            <a:chExt cx="1771605" cy="219456"/>
          </a:xfrm>
        </p:grpSpPr>
        <p:sp>
          <p:nvSpPr>
            <p:cNvPr id="1048" name="Rectangle: Rounded Corners 6">
              <a:extLst>
                <a:ext uri="{FF2B5EF4-FFF2-40B4-BE49-F238E27FC236}">
                  <a16:creationId xmlns:a16="http://schemas.microsoft.com/office/drawing/2014/main" id="{1817C665-422A-92DB-B7B3-CF68F9A531DD}"/>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049" name="Graphic 1048">
              <a:extLst>
                <a:ext uri="{FF2B5EF4-FFF2-40B4-BE49-F238E27FC236}">
                  <a16:creationId xmlns:a16="http://schemas.microsoft.com/office/drawing/2014/main" id="{DD089D51-E0F1-767C-2298-B9A543291167}"/>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67506" y="4260849"/>
              <a:ext cx="144000" cy="144000"/>
            </a:xfrm>
            <a:prstGeom prst="rect">
              <a:avLst/>
            </a:prstGeom>
          </p:spPr>
        </p:pic>
      </p:grpSp>
      <p:grpSp>
        <p:nvGrpSpPr>
          <p:cNvPr id="1050" name="Group 1049">
            <a:extLst>
              <a:ext uri="{FF2B5EF4-FFF2-40B4-BE49-F238E27FC236}">
                <a16:creationId xmlns:a16="http://schemas.microsoft.com/office/drawing/2014/main" id="{38B5189E-8349-3249-506B-B4D4894D0CEF}"/>
              </a:ext>
            </a:extLst>
          </p:cNvPr>
          <p:cNvGrpSpPr/>
          <p:nvPr/>
        </p:nvGrpSpPr>
        <p:grpSpPr>
          <a:xfrm>
            <a:off x="320721" y="5309272"/>
            <a:ext cx="1771605" cy="216000"/>
            <a:chOff x="320721" y="4517211"/>
            <a:chExt cx="1771605" cy="216000"/>
          </a:xfrm>
        </p:grpSpPr>
        <p:sp>
          <p:nvSpPr>
            <p:cNvPr id="1051" name="Rectangle: Rounded Corners 6">
              <a:extLst>
                <a:ext uri="{FF2B5EF4-FFF2-40B4-BE49-F238E27FC236}">
                  <a16:creationId xmlns:a16="http://schemas.microsoft.com/office/drawing/2014/main" id="{752E392E-553E-489B-A9BB-C412AC7BE6F9}"/>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Employee experience</a:t>
              </a:r>
            </a:p>
          </p:txBody>
        </p:sp>
        <p:pic>
          <p:nvPicPr>
            <p:cNvPr id="1052" name="Graphic 1051">
              <a:extLst>
                <a:ext uri="{FF2B5EF4-FFF2-40B4-BE49-F238E27FC236}">
                  <a16:creationId xmlns:a16="http://schemas.microsoft.com/office/drawing/2014/main" id="{6CDF2D61-EFF7-5E11-00EE-FA9CFC380C7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67507" y="4552645"/>
              <a:ext cx="144000" cy="141732"/>
            </a:xfrm>
            <a:prstGeom prst="rect">
              <a:avLst/>
            </a:prstGeom>
          </p:spPr>
        </p:pic>
      </p:grpSp>
      <p:grpSp>
        <p:nvGrpSpPr>
          <p:cNvPr id="1053" name="Group 1052">
            <a:extLst>
              <a:ext uri="{FF2B5EF4-FFF2-40B4-BE49-F238E27FC236}">
                <a16:creationId xmlns:a16="http://schemas.microsoft.com/office/drawing/2014/main" id="{77F3549F-5792-F08D-2A2D-1BBD4631592C}"/>
              </a:ext>
            </a:extLst>
          </p:cNvPr>
          <p:cNvGrpSpPr/>
          <p:nvPr/>
        </p:nvGrpSpPr>
        <p:grpSpPr>
          <a:xfrm>
            <a:off x="320719" y="3778836"/>
            <a:ext cx="1771605" cy="216000"/>
            <a:chOff x="320719" y="4224856"/>
            <a:chExt cx="1771605" cy="219456"/>
          </a:xfrm>
        </p:grpSpPr>
        <p:sp>
          <p:nvSpPr>
            <p:cNvPr id="1054" name="Rectangle: Rounded Corners 6">
              <a:extLst>
                <a:ext uri="{FF2B5EF4-FFF2-40B4-BE49-F238E27FC236}">
                  <a16:creationId xmlns:a16="http://schemas.microsoft.com/office/drawing/2014/main" id="{82BAABEE-3920-7FBB-4028-B1F485F34D60}"/>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1055" name="Graphic 1054">
              <a:extLst>
                <a:ext uri="{FF2B5EF4-FFF2-40B4-BE49-F238E27FC236}">
                  <a16:creationId xmlns:a16="http://schemas.microsoft.com/office/drawing/2014/main" id="{147ECBC6-72A0-9A08-F2DE-4FAB9085036D}"/>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67506" y="4260849"/>
              <a:ext cx="144000" cy="144000"/>
            </a:xfrm>
            <a:prstGeom prst="rect">
              <a:avLst/>
            </a:prstGeom>
          </p:spPr>
        </p:pic>
      </p:grpSp>
      <p:grpSp>
        <p:nvGrpSpPr>
          <p:cNvPr id="1056" name="Group 1055">
            <a:extLst>
              <a:ext uri="{FF2B5EF4-FFF2-40B4-BE49-F238E27FC236}">
                <a16:creationId xmlns:a16="http://schemas.microsoft.com/office/drawing/2014/main" id="{BC3AC6D5-5657-3F82-33D3-E21BFCCB4B67}"/>
              </a:ext>
            </a:extLst>
          </p:cNvPr>
          <p:cNvGrpSpPr/>
          <p:nvPr/>
        </p:nvGrpSpPr>
        <p:grpSpPr>
          <a:xfrm>
            <a:off x="320721" y="4067450"/>
            <a:ext cx="1771605" cy="216000"/>
            <a:chOff x="320721" y="4517211"/>
            <a:chExt cx="1771605" cy="216000"/>
          </a:xfrm>
        </p:grpSpPr>
        <p:sp>
          <p:nvSpPr>
            <p:cNvPr id="1057" name="Rectangle: Rounded Corners 6">
              <a:extLst>
                <a:ext uri="{FF2B5EF4-FFF2-40B4-BE49-F238E27FC236}">
                  <a16:creationId xmlns:a16="http://schemas.microsoft.com/office/drawing/2014/main" id="{74BDC905-342A-FB26-2C8C-02763C2BC39C}"/>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ustomer satisfaction</a:t>
              </a:r>
            </a:p>
          </p:txBody>
        </p:sp>
        <p:pic>
          <p:nvPicPr>
            <p:cNvPr id="1058" name="Graphic 1057">
              <a:extLst>
                <a:ext uri="{FF2B5EF4-FFF2-40B4-BE49-F238E27FC236}">
                  <a16:creationId xmlns:a16="http://schemas.microsoft.com/office/drawing/2014/main" id="{EF3384F3-382A-C3B0-A424-12CFA4DC42B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67507" y="4552645"/>
              <a:ext cx="144000" cy="141732"/>
            </a:xfrm>
            <a:prstGeom prst="rect">
              <a:avLst/>
            </a:prstGeom>
          </p:spPr>
        </p:pic>
      </p:grpSp>
      <p:grpSp>
        <p:nvGrpSpPr>
          <p:cNvPr id="1059" name="Group 1058">
            <a:extLst>
              <a:ext uri="{FF2B5EF4-FFF2-40B4-BE49-F238E27FC236}">
                <a16:creationId xmlns:a16="http://schemas.microsoft.com/office/drawing/2014/main" id="{45EDD6D0-F218-8A67-7A60-61D1E898355F}"/>
              </a:ext>
            </a:extLst>
          </p:cNvPr>
          <p:cNvGrpSpPr/>
          <p:nvPr/>
        </p:nvGrpSpPr>
        <p:grpSpPr>
          <a:xfrm>
            <a:off x="320719" y="4356602"/>
            <a:ext cx="1771605" cy="216000"/>
            <a:chOff x="320719" y="4224856"/>
            <a:chExt cx="1771605" cy="219456"/>
          </a:xfrm>
        </p:grpSpPr>
        <p:sp>
          <p:nvSpPr>
            <p:cNvPr id="1060" name="Rectangle: Rounded Corners 6">
              <a:extLst>
                <a:ext uri="{FF2B5EF4-FFF2-40B4-BE49-F238E27FC236}">
                  <a16:creationId xmlns:a16="http://schemas.microsoft.com/office/drawing/2014/main" id="{73B3CFDD-98D3-92F4-DB83-1607EC01D895}"/>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Employee churn</a:t>
              </a:r>
            </a:p>
          </p:txBody>
        </p:sp>
        <p:pic>
          <p:nvPicPr>
            <p:cNvPr id="1061" name="Graphic 1060">
              <a:extLst>
                <a:ext uri="{FF2B5EF4-FFF2-40B4-BE49-F238E27FC236}">
                  <a16:creationId xmlns:a16="http://schemas.microsoft.com/office/drawing/2014/main" id="{FB5F3D36-F382-EBAF-62C3-CC551FB09164}"/>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67506" y="4260849"/>
              <a:ext cx="144000" cy="144000"/>
            </a:xfrm>
            <a:prstGeom prst="rect">
              <a:avLst/>
            </a:prstGeom>
          </p:spPr>
        </p:pic>
      </p:grpSp>
      <p:sp>
        <p:nvSpPr>
          <p:cNvPr id="1073" name="TextBox 1072">
            <a:extLst>
              <a:ext uri="{FF2B5EF4-FFF2-40B4-BE49-F238E27FC236}">
                <a16:creationId xmlns:a16="http://schemas.microsoft.com/office/drawing/2014/main" id="{881207AD-680F-8923-1C5A-03398A42E752}"/>
              </a:ext>
              <a:ext uri="{C183D7F6-B498-43B3-948B-1728B52AA6E4}">
                <adec:decorative xmlns:adec="http://schemas.microsoft.com/office/drawing/2017/decorative" val="0"/>
              </a:ext>
            </a:extLst>
          </p:cNvPr>
          <p:cNvSpPr txBox="1"/>
          <p:nvPr/>
        </p:nvSpPr>
        <p:spPr>
          <a:xfrm>
            <a:off x="3552452"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074" name="Picture 50">
            <a:hlinkClick r:id="rId15"/>
            <a:extLst>
              <a:ext uri="{FF2B5EF4-FFF2-40B4-BE49-F238E27FC236}">
                <a16:creationId xmlns:a16="http://schemas.microsoft.com/office/drawing/2014/main" id="{1E1C2A34-8F01-1B8B-D109-F50FF7F6F1B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182938"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1076" name="TextBox 1075">
            <a:extLst>
              <a:ext uri="{FF2B5EF4-FFF2-40B4-BE49-F238E27FC236}">
                <a16:creationId xmlns:a16="http://schemas.microsoft.com/office/drawing/2014/main" id="{A825CC04-5C04-D90C-2712-C862902A9AEE}"/>
              </a:ext>
              <a:ext uri="{C183D7F6-B498-43B3-948B-1728B52AA6E4}">
                <adec:decorative xmlns:adec="http://schemas.microsoft.com/office/drawing/2017/decorative" val="0"/>
              </a:ext>
            </a:extLst>
          </p:cNvPr>
          <p:cNvSpPr txBox="1"/>
          <p:nvPr/>
        </p:nvSpPr>
        <p:spPr>
          <a:xfrm>
            <a:off x="9329077" y="488446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077" name="Picture 50">
            <a:hlinkClick r:id="rId15"/>
            <a:extLst>
              <a:ext uri="{FF2B5EF4-FFF2-40B4-BE49-F238E27FC236}">
                <a16:creationId xmlns:a16="http://schemas.microsoft.com/office/drawing/2014/main" id="{A1C36858-4A56-3090-A5D3-8C6DC71F084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950325" y="4840226"/>
            <a:ext cx="242374" cy="242374"/>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50">
            <a:hlinkClick r:id="rId15"/>
            <a:extLst>
              <a:ext uri="{FF2B5EF4-FFF2-40B4-BE49-F238E27FC236}">
                <a16:creationId xmlns:a16="http://schemas.microsoft.com/office/drawing/2014/main" id="{D6B191BC-A810-8F00-8453-96003BC76EF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057220" y="4840702"/>
            <a:ext cx="241516" cy="215956"/>
          </a:xfrm>
          <a:prstGeom prst="rect">
            <a:avLst/>
          </a:prstGeom>
          <a:noFill/>
          <a:extLst>
            <a:ext uri="{909E8E84-426E-40DD-AFC4-6F175D3DCCD1}">
              <a14:hiddenFill xmlns:a14="http://schemas.microsoft.com/office/drawing/2010/main">
                <a:solidFill>
                  <a:srgbClr val="FFFFFF"/>
                </a:solidFill>
              </a14:hiddenFill>
            </a:ext>
          </a:extLst>
        </p:spPr>
      </p:pic>
      <p:sp>
        <p:nvSpPr>
          <p:cNvPr id="109" name="TextBox 108">
            <a:extLst>
              <a:ext uri="{FF2B5EF4-FFF2-40B4-BE49-F238E27FC236}">
                <a16:creationId xmlns:a16="http://schemas.microsoft.com/office/drawing/2014/main" id="{FB6B7B7B-AC62-323C-D25B-632DD065C9DD}"/>
              </a:ext>
              <a:ext uri="{C183D7F6-B498-43B3-948B-1728B52AA6E4}">
                <adec:decorative xmlns:adec="http://schemas.microsoft.com/office/drawing/2017/decorative" val="0"/>
              </a:ext>
            </a:extLst>
          </p:cNvPr>
          <p:cNvSpPr txBox="1"/>
          <p:nvPr/>
        </p:nvSpPr>
        <p:spPr>
          <a:xfrm>
            <a:off x="6445284"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10" name="Picture 50">
            <a:hlinkClick r:id="rId15"/>
            <a:extLst>
              <a:ext uri="{FF2B5EF4-FFF2-40B4-BE49-F238E27FC236}">
                <a16:creationId xmlns:a16="http://schemas.microsoft.com/office/drawing/2014/main" id="{CEEDCF81-6663-ACB9-E514-8C4460F7FA6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066682"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111" name="TextBox 110">
            <a:extLst>
              <a:ext uri="{FF2B5EF4-FFF2-40B4-BE49-F238E27FC236}">
                <a16:creationId xmlns:a16="http://schemas.microsoft.com/office/drawing/2014/main" id="{135272A4-BC7D-3361-A877-9C47D724AD4E}"/>
              </a:ext>
              <a:ext uri="{C183D7F6-B498-43B3-948B-1728B52AA6E4}">
                <adec:decorative xmlns:adec="http://schemas.microsoft.com/office/drawing/2017/decorative" val="0"/>
              </a:ext>
            </a:extLst>
          </p:cNvPr>
          <p:cNvSpPr txBox="1"/>
          <p:nvPr/>
        </p:nvSpPr>
        <p:spPr>
          <a:xfrm>
            <a:off x="9329077"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12" name="Picture 50">
            <a:hlinkClick r:id="rId15"/>
            <a:extLst>
              <a:ext uri="{FF2B5EF4-FFF2-40B4-BE49-F238E27FC236}">
                <a16:creationId xmlns:a16="http://schemas.microsoft.com/office/drawing/2014/main" id="{3A5D847B-DE61-2EFF-3384-D4E82C2E52A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950475"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113" name="TextBox 112">
            <a:extLst>
              <a:ext uri="{FF2B5EF4-FFF2-40B4-BE49-F238E27FC236}">
                <a16:creationId xmlns:a16="http://schemas.microsoft.com/office/drawing/2014/main" id="{22A83EC9-3A45-B0FC-D3C6-996192D84A54}"/>
              </a:ext>
              <a:ext uri="{C183D7F6-B498-43B3-948B-1728B52AA6E4}">
                <adec:decorative xmlns:adec="http://schemas.microsoft.com/office/drawing/2017/decorative" val="0"/>
              </a:ext>
            </a:extLst>
          </p:cNvPr>
          <p:cNvSpPr txBox="1"/>
          <p:nvPr/>
        </p:nvSpPr>
        <p:spPr>
          <a:xfrm>
            <a:off x="3552452" y="4871260"/>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sp>
        <p:nvSpPr>
          <p:cNvPr id="114" name="TextBox 113">
            <a:extLst>
              <a:ext uri="{FF2B5EF4-FFF2-40B4-BE49-F238E27FC236}">
                <a16:creationId xmlns:a16="http://schemas.microsoft.com/office/drawing/2014/main" id="{D4C0C920-6F71-584B-555E-F4CA61E76B4C}"/>
              </a:ext>
              <a:ext uri="{C183D7F6-B498-43B3-948B-1728B52AA6E4}">
                <adec:decorative xmlns:adec="http://schemas.microsoft.com/office/drawing/2017/decorative" val="0"/>
              </a:ext>
            </a:extLst>
          </p:cNvPr>
          <p:cNvSpPr txBox="1"/>
          <p:nvPr/>
        </p:nvSpPr>
        <p:spPr>
          <a:xfrm>
            <a:off x="6445284" y="4871260"/>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15" name="Picture 50">
            <a:hlinkClick r:id="rId15"/>
            <a:extLst>
              <a:ext uri="{FF2B5EF4-FFF2-40B4-BE49-F238E27FC236}">
                <a16:creationId xmlns:a16="http://schemas.microsoft.com/office/drawing/2014/main" id="{46DC8E2F-568F-9AB2-F819-8BF718D1BC0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182938" y="4840702"/>
            <a:ext cx="241516" cy="2159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369207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4A0092-68A2-DE21-573F-9CA448E94B6C}"/>
            </a:ext>
          </a:extLst>
        </p:cNvPr>
        <p:cNvGrpSpPr/>
        <p:nvPr/>
      </p:nvGrpSpPr>
      <p:grpSpPr>
        <a:xfrm>
          <a:off x="0" y="0"/>
          <a:ext cx="0" cy="0"/>
          <a:chOff x="0" y="0"/>
          <a:chExt cx="0" cy="0"/>
        </a:xfrm>
      </p:grpSpPr>
      <p:sp>
        <p:nvSpPr>
          <p:cNvPr id="22" name="Text Placeholder 21">
            <a:extLst>
              <a:ext uri="{FF2B5EF4-FFF2-40B4-BE49-F238E27FC236}">
                <a16:creationId xmlns:a16="http://schemas.microsoft.com/office/drawing/2014/main" id="{0ECD239C-0E12-AEC5-D94A-3F38C28EBC75}"/>
              </a:ext>
            </a:extLst>
          </p:cNvPr>
          <p:cNvSpPr>
            <a:spLocks noGrp="1"/>
          </p:cNvSpPr>
          <p:nvPr>
            <p:ph type="body" sz="quarter" idx="42"/>
          </p:nvPr>
        </p:nvSpPr>
        <p:spPr>
          <a:xfrm>
            <a:off x="311388" y="1026303"/>
            <a:ext cx="2431246" cy="1131079"/>
          </a:xfrm>
        </p:spPr>
        <p:txBody>
          <a:bodyPr/>
          <a:lstStyle/>
          <a:p>
            <a:r>
              <a:rPr lang="en-US" dirty="0"/>
              <a:t>Store Operations Agent in Copilot Studio empowers retail store employees to get answers to their questions, check order status and item inventory, and initiate a return. </a:t>
            </a:r>
          </a:p>
          <a:p>
            <a:endParaRPr lang="en-US" dirty="0"/>
          </a:p>
          <a:p>
            <a:r>
              <a:rPr kumimoji="0" lang="en-US" sz="1050" b="0" i="0" u="none" strike="noStrike" kern="1200" cap="none" spc="0" normalizeH="0" baseline="0" noProof="0" dirty="0">
                <a:ln>
                  <a:noFill/>
                </a:ln>
                <a:solidFill>
                  <a:srgbClr val="000000"/>
                </a:solidFill>
                <a:effectLst/>
                <a:uLnTx/>
                <a:uFillTx/>
                <a:latin typeface="Segoe UI Semibold"/>
                <a:ea typeface="+mn-ea"/>
                <a:cs typeface="+mn-cs"/>
              </a:rPr>
              <a:t>Implementation information: </a:t>
            </a:r>
            <a:r>
              <a:rPr kumimoji="0" lang="en-US" sz="1050" b="0" i="0" u="none" strike="noStrike" kern="1200" cap="none" spc="0" normalizeH="0" baseline="0" noProof="0" dirty="0">
                <a:ln>
                  <a:noFill/>
                </a:ln>
                <a:solidFill>
                  <a:srgbClr val="000000"/>
                </a:solidFill>
                <a:effectLst/>
                <a:uLnTx/>
                <a:uFillTx/>
                <a:latin typeface="Segoe UI Semibold"/>
                <a:ea typeface="+mn-ea"/>
                <a:cs typeface="+mn-cs"/>
                <a:hlinkClick r:id="rId3"/>
              </a:rPr>
              <a:t>Store operations agent</a:t>
            </a: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a:p>
            <a:endParaRPr lang="en-US" dirty="0"/>
          </a:p>
          <a:p>
            <a:endParaRPr lang="en-US" noProof="0" dirty="0"/>
          </a:p>
        </p:txBody>
      </p:sp>
      <p:sp>
        <p:nvSpPr>
          <p:cNvPr id="76" name="Text Placeholder 75">
            <a:extLst>
              <a:ext uri="{FF2B5EF4-FFF2-40B4-BE49-F238E27FC236}">
                <a16:creationId xmlns:a16="http://schemas.microsoft.com/office/drawing/2014/main" id="{9011C8B0-56DA-09C3-8B55-8736FFD773C6}"/>
              </a:ext>
            </a:extLst>
          </p:cNvPr>
          <p:cNvSpPr>
            <a:spLocks noGrp="1"/>
          </p:cNvSpPr>
          <p:nvPr>
            <p:ph type="body" sz="quarter" idx="43"/>
          </p:nvPr>
        </p:nvSpPr>
        <p:spPr>
          <a:xfrm>
            <a:off x="10430351" y="521099"/>
            <a:ext cx="1456966" cy="175614"/>
          </a:xfrm>
        </p:spPr>
        <p:txBody>
          <a:bodyPr/>
          <a:lstStyle/>
          <a:p>
            <a:r>
              <a:rPr lang="en-US" noProof="0"/>
              <a:t>Build</a:t>
            </a:r>
          </a:p>
        </p:txBody>
      </p:sp>
      <p:sp>
        <p:nvSpPr>
          <p:cNvPr id="77" name="Text Placeholder 76">
            <a:extLst>
              <a:ext uri="{FF2B5EF4-FFF2-40B4-BE49-F238E27FC236}">
                <a16:creationId xmlns:a16="http://schemas.microsoft.com/office/drawing/2014/main" id="{80C75E1C-D454-A48D-C1BC-60480C17414F}"/>
              </a:ext>
            </a:extLst>
          </p:cNvPr>
          <p:cNvSpPr>
            <a:spLocks noGrp="1"/>
          </p:cNvSpPr>
          <p:nvPr>
            <p:ph type="body" sz="quarter" idx="44"/>
          </p:nvPr>
        </p:nvSpPr>
        <p:spPr>
          <a:xfrm>
            <a:off x="7149557" y="521100"/>
            <a:ext cx="2969488" cy="169277"/>
          </a:xfrm>
        </p:spPr>
        <p:txBody>
          <a:bodyPr/>
          <a:lstStyle/>
          <a:p>
            <a:r>
              <a:rPr lang="en-US" noProof="0"/>
              <a:t>Copilot Studio and Azure AI Foundry</a:t>
            </a:r>
          </a:p>
        </p:txBody>
      </p:sp>
      <p:sp>
        <p:nvSpPr>
          <p:cNvPr id="23" name="Text Placeholder 22">
            <a:extLst>
              <a:ext uri="{FF2B5EF4-FFF2-40B4-BE49-F238E27FC236}">
                <a16:creationId xmlns:a16="http://schemas.microsoft.com/office/drawing/2014/main" id="{7FE66270-E715-55C7-192D-CB78151D68F0}"/>
              </a:ext>
            </a:extLst>
          </p:cNvPr>
          <p:cNvSpPr>
            <a:spLocks noGrp="1"/>
          </p:cNvSpPr>
          <p:nvPr>
            <p:ph type="body" sz="quarter" idx="46"/>
          </p:nvPr>
        </p:nvSpPr>
        <p:spPr>
          <a:xfrm>
            <a:off x="3182889" y="2725494"/>
            <a:ext cx="2572262" cy="712876"/>
          </a:xfrm>
        </p:spPr>
        <p:txBody>
          <a:bodyPr/>
          <a:lstStyle/>
          <a:p>
            <a:r>
              <a:rPr lang="en-US" dirty="0"/>
              <a:t>Benefit: </a:t>
            </a:r>
            <a:r>
              <a:rPr lang="en-US" dirty="0">
                <a:latin typeface="+mj-lt"/>
              </a:rPr>
              <a:t>Quickly find accurate answers</a:t>
            </a:r>
            <a:r>
              <a:rPr lang="en-US" dirty="0"/>
              <a:t> to customer questions in the flow of work using natural language voice search.</a:t>
            </a:r>
          </a:p>
        </p:txBody>
      </p:sp>
      <p:sp>
        <p:nvSpPr>
          <p:cNvPr id="83" name="Text Placeholder 82">
            <a:extLst>
              <a:ext uri="{FF2B5EF4-FFF2-40B4-BE49-F238E27FC236}">
                <a16:creationId xmlns:a16="http://schemas.microsoft.com/office/drawing/2014/main" id="{AC0BACED-FBDC-291E-9E3D-74C8E510E7D7}"/>
              </a:ext>
            </a:extLst>
          </p:cNvPr>
          <p:cNvSpPr>
            <a:spLocks noGrp="1"/>
          </p:cNvSpPr>
          <p:nvPr>
            <p:ph type="body" sz="quarter" idx="47"/>
          </p:nvPr>
        </p:nvSpPr>
        <p:spPr>
          <a:xfrm>
            <a:off x="3182890" y="1112478"/>
            <a:ext cx="2572262" cy="153888"/>
          </a:xfrm>
        </p:spPr>
        <p:txBody>
          <a:bodyPr/>
          <a:lstStyle/>
          <a:p>
            <a:r>
              <a:rPr lang="en-US" noProof="0"/>
              <a:t>Find product info for customer</a:t>
            </a:r>
          </a:p>
        </p:txBody>
      </p:sp>
      <p:sp>
        <p:nvSpPr>
          <p:cNvPr id="85" name="Text Placeholder 84">
            <a:extLst>
              <a:ext uri="{FF2B5EF4-FFF2-40B4-BE49-F238E27FC236}">
                <a16:creationId xmlns:a16="http://schemas.microsoft.com/office/drawing/2014/main" id="{6F5DC55D-F579-25DB-6D03-FCC5FC99BFCA}"/>
              </a:ext>
            </a:extLst>
          </p:cNvPr>
          <p:cNvSpPr>
            <a:spLocks noGrp="1"/>
          </p:cNvSpPr>
          <p:nvPr>
            <p:ph type="body" sz="quarter" idx="48"/>
          </p:nvPr>
        </p:nvSpPr>
        <p:spPr>
          <a:xfrm>
            <a:off x="3182890" y="1438715"/>
            <a:ext cx="2572262" cy="626701"/>
          </a:xfrm>
        </p:spPr>
        <p:txBody>
          <a:bodyPr/>
          <a:lstStyle/>
          <a:p>
            <a:r>
              <a:rPr lang="en-US" noProof="0"/>
              <a:t>Use natural language voice search to ask the copilot agent to find product specifications. Copilot agent for store operations surfaces information from designated store documentation.</a:t>
            </a:r>
          </a:p>
          <a:p>
            <a:endParaRPr lang="en-US" noProof="0"/>
          </a:p>
        </p:txBody>
      </p:sp>
      <p:sp>
        <p:nvSpPr>
          <p:cNvPr id="86" name="Text Placeholder 85">
            <a:extLst>
              <a:ext uri="{FF2B5EF4-FFF2-40B4-BE49-F238E27FC236}">
                <a16:creationId xmlns:a16="http://schemas.microsoft.com/office/drawing/2014/main" id="{39A73561-DD32-E317-FF8F-CAA1277E29BF}"/>
              </a:ext>
            </a:extLst>
          </p:cNvPr>
          <p:cNvSpPr>
            <a:spLocks noGrp="1"/>
          </p:cNvSpPr>
          <p:nvPr>
            <p:ph type="body" sz="quarter" idx="49"/>
          </p:nvPr>
        </p:nvSpPr>
        <p:spPr>
          <a:xfrm>
            <a:off x="6066682" y="1112478"/>
            <a:ext cx="2572262" cy="153888"/>
          </a:xfrm>
        </p:spPr>
        <p:txBody>
          <a:bodyPr/>
          <a:lstStyle/>
          <a:p>
            <a:r>
              <a:rPr lang="en-US" noProof="0"/>
              <a:t>Help customer with return policy</a:t>
            </a:r>
          </a:p>
        </p:txBody>
      </p:sp>
      <p:sp>
        <p:nvSpPr>
          <p:cNvPr id="87" name="Text Placeholder 86">
            <a:extLst>
              <a:ext uri="{FF2B5EF4-FFF2-40B4-BE49-F238E27FC236}">
                <a16:creationId xmlns:a16="http://schemas.microsoft.com/office/drawing/2014/main" id="{B71D79FB-D533-F835-3795-C12AA63DCFE1}"/>
              </a:ext>
            </a:extLst>
          </p:cNvPr>
          <p:cNvSpPr>
            <a:spLocks noGrp="1"/>
          </p:cNvSpPr>
          <p:nvPr>
            <p:ph type="body" sz="quarter" idx="50"/>
          </p:nvPr>
        </p:nvSpPr>
        <p:spPr>
          <a:xfrm>
            <a:off x="6066682" y="1438715"/>
            <a:ext cx="2572262" cy="626701"/>
          </a:xfrm>
        </p:spPr>
        <p:txBody>
          <a:bodyPr/>
          <a:lstStyle/>
          <a:p>
            <a:r>
              <a:rPr lang="en-US" noProof="0"/>
              <a:t>Offer the customer piece-of-mind before purchasing by asking the copilot agent to show you the company return policy for the products under consideration.</a:t>
            </a:r>
          </a:p>
          <a:p>
            <a:endParaRPr lang="en-US" noProof="0"/>
          </a:p>
        </p:txBody>
      </p:sp>
      <p:sp>
        <p:nvSpPr>
          <p:cNvPr id="91" name="Text Placeholder 90">
            <a:extLst>
              <a:ext uri="{FF2B5EF4-FFF2-40B4-BE49-F238E27FC236}">
                <a16:creationId xmlns:a16="http://schemas.microsoft.com/office/drawing/2014/main" id="{00E807C4-C3E8-6BF2-C9C7-D21C7BB4ADFF}"/>
              </a:ext>
            </a:extLst>
          </p:cNvPr>
          <p:cNvSpPr>
            <a:spLocks noGrp="1"/>
          </p:cNvSpPr>
          <p:nvPr>
            <p:ph type="body" sz="quarter" idx="67"/>
          </p:nvPr>
        </p:nvSpPr>
        <p:spPr>
          <a:xfrm>
            <a:off x="8950475" y="2725494"/>
            <a:ext cx="2572262" cy="712876"/>
          </a:xfrm>
        </p:spPr>
        <p:txBody>
          <a:bodyPr/>
          <a:lstStyle/>
          <a:p>
            <a:r>
              <a:rPr lang="en-US" noProof="0"/>
              <a:t>Benefit: </a:t>
            </a:r>
            <a:r>
              <a:rPr lang="en-US">
                <a:latin typeface="+mj-lt"/>
              </a:rPr>
              <a:t>Get detailed guidance </a:t>
            </a:r>
            <a:r>
              <a:rPr lang="en-US" noProof="0"/>
              <a:t>on how to complete assigned tasks—all built using repeatable task templates that can be published across stores and role types.</a:t>
            </a:r>
          </a:p>
        </p:txBody>
      </p:sp>
      <p:sp>
        <p:nvSpPr>
          <p:cNvPr id="89" name="Text Placeholder 88">
            <a:extLst>
              <a:ext uri="{FF2B5EF4-FFF2-40B4-BE49-F238E27FC236}">
                <a16:creationId xmlns:a16="http://schemas.microsoft.com/office/drawing/2014/main" id="{041B5DED-C33D-745E-D4A0-8CC8D9E25CF5}"/>
              </a:ext>
            </a:extLst>
          </p:cNvPr>
          <p:cNvSpPr>
            <a:spLocks noGrp="1"/>
          </p:cNvSpPr>
          <p:nvPr>
            <p:ph type="body" sz="quarter" idx="52"/>
          </p:nvPr>
        </p:nvSpPr>
        <p:spPr>
          <a:xfrm>
            <a:off x="8950475" y="1112478"/>
            <a:ext cx="2572262" cy="153888"/>
          </a:xfrm>
        </p:spPr>
        <p:txBody>
          <a:bodyPr/>
          <a:lstStyle/>
          <a:p>
            <a:r>
              <a:rPr lang="en-US" noProof="0"/>
              <a:t>Fulfill assigned tasks</a:t>
            </a:r>
          </a:p>
        </p:txBody>
      </p:sp>
      <p:sp>
        <p:nvSpPr>
          <p:cNvPr id="90" name="Text Placeholder 89">
            <a:extLst>
              <a:ext uri="{FF2B5EF4-FFF2-40B4-BE49-F238E27FC236}">
                <a16:creationId xmlns:a16="http://schemas.microsoft.com/office/drawing/2014/main" id="{6AFCFCA7-5578-12A9-00EF-C7E6926E18C8}"/>
              </a:ext>
            </a:extLst>
          </p:cNvPr>
          <p:cNvSpPr>
            <a:spLocks noGrp="1"/>
          </p:cNvSpPr>
          <p:nvPr>
            <p:ph type="body" sz="quarter" idx="53"/>
          </p:nvPr>
        </p:nvSpPr>
        <p:spPr>
          <a:xfrm>
            <a:off x="8950475" y="1438715"/>
            <a:ext cx="2572262" cy="626701"/>
          </a:xfrm>
        </p:spPr>
        <p:txBody>
          <a:bodyPr/>
          <a:lstStyle/>
          <a:p>
            <a:r>
              <a:rPr lang="en-US" noProof="0"/>
              <a:t>After helping the customer, begin assembling promotional display via step-by-step instructions found in the personalized task list assigned by the store manager.</a:t>
            </a:r>
          </a:p>
          <a:p>
            <a:endParaRPr lang="en-US" noProof="0"/>
          </a:p>
        </p:txBody>
      </p:sp>
      <p:sp>
        <p:nvSpPr>
          <p:cNvPr id="88" name="Text Placeholder 87">
            <a:extLst>
              <a:ext uri="{FF2B5EF4-FFF2-40B4-BE49-F238E27FC236}">
                <a16:creationId xmlns:a16="http://schemas.microsoft.com/office/drawing/2014/main" id="{C54FC4BB-6CC7-4940-5CC1-57882CF22F66}"/>
              </a:ext>
            </a:extLst>
          </p:cNvPr>
          <p:cNvSpPr>
            <a:spLocks noGrp="1"/>
          </p:cNvSpPr>
          <p:nvPr>
            <p:ph type="body" sz="quarter" idx="66"/>
          </p:nvPr>
        </p:nvSpPr>
        <p:spPr>
          <a:xfrm>
            <a:off x="6066682" y="2725494"/>
            <a:ext cx="2572262" cy="712876"/>
          </a:xfrm>
        </p:spPr>
        <p:txBody>
          <a:bodyPr/>
          <a:lstStyle/>
          <a:p>
            <a:r>
              <a:rPr lang="en-US" noProof="0"/>
              <a:t>Benefit: </a:t>
            </a:r>
            <a:r>
              <a:rPr lang="en-US">
                <a:latin typeface="+mj-lt"/>
              </a:rPr>
              <a:t>Save critical time spent searching for a manager</a:t>
            </a:r>
            <a:r>
              <a:rPr lang="en-US" noProof="0"/>
              <a:t> for answers about company policies and procedures.</a:t>
            </a:r>
          </a:p>
        </p:txBody>
      </p:sp>
      <p:sp>
        <p:nvSpPr>
          <p:cNvPr id="92" name="Text Placeholder 91">
            <a:extLst>
              <a:ext uri="{FF2B5EF4-FFF2-40B4-BE49-F238E27FC236}">
                <a16:creationId xmlns:a16="http://schemas.microsoft.com/office/drawing/2014/main" id="{19E5E1A8-BBDD-9AC4-7586-7B985055FC4B}"/>
              </a:ext>
            </a:extLst>
          </p:cNvPr>
          <p:cNvSpPr>
            <a:spLocks noGrp="1"/>
          </p:cNvSpPr>
          <p:nvPr>
            <p:ph type="body" sz="quarter" idx="58"/>
          </p:nvPr>
        </p:nvSpPr>
        <p:spPr>
          <a:xfrm>
            <a:off x="4036409" y="3725103"/>
            <a:ext cx="3161734" cy="153888"/>
          </a:xfrm>
        </p:spPr>
        <p:txBody>
          <a:bodyPr/>
          <a:lstStyle/>
          <a:p>
            <a:r>
              <a:rPr lang="en-US" noProof="0"/>
              <a:t>Review company time-off policies</a:t>
            </a:r>
          </a:p>
        </p:txBody>
      </p:sp>
      <p:sp>
        <p:nvSpPr>
          <p:cNvPr id="93" name="Text Placeholder 92">
            <a:extLst>
              <a:ext uri="{FF2B5EF4-FFF2-40B4-BE49-F238E27FC236}">
                <a16:creationId xmlns:a16="http://schemas.microsoft.com/office/drawing/2014/main" id="{FB06129F-CF83-BF35-09D6-95C60D4CCDC2}"/>
              </a:ext>
            </a:extLst>
          </p:cNvPr>
          <p:cNvSpPr>
            <a:spLocks noGrp="1"/>
          </p:cNvSpPr>
          <p:nvPr>
            <p:ph type="body" sz="quarter" idx="59"/>
          </p:nvPr>
        </p:nvSpPr>
        <p:spPr>
          <a:xfrm>
            <a:off x="4036409" y="4050957"/>
            <a:ext cx="3161734" cy="626701"/>
          </a:xfrm>
        </p:spPr>
        <p:txBody>
          <a:bodyPr/>
          <a:lstStyle/>
          <a:p>
            <a:r>
              <a:rPr lang="en-US" noProof="0"/>
              <a:t>Use the copilot agent to quickly find up-to-date HR policies about requesting time off for an upcoming vacation – all using natural language voice search.</a:t>
            </a:r>
          </a:p>
          <a:p>
            <a:endParaRPr lang="en-US" noProof="0"/>
          </a:p>
        </p:txBody>
      </p:sp>
      <p:sp>
        <p:nvSpPr>
          <p:cNvPr id="97" name="Text Placeholder 96">
            <a:extLst>
              <a:ext uri="{FF2B5EF4-FFF2-40B4-BE49-F238E27FC236}">
                <a16:creationId xmlns:a16="http://schemas.microsoft.com/office/drawing/2014/main" id="{8A5A4213-2DB8-9046-9EC2-EEA218895D6E}"/>
              </a:ext>
            </a:extLst>
          </p:cNvPr>
          <p:cNvSpPr>
            <a:spLocks noGrp="1"/>
          </p:cNvSpPr>
          <p:nvPr>
            <p:ph type="body" sz="quarter" idx="69"/>
          </p:nvPr>
        </p:nvSpPr>
        <p:spPr>
          <a:xfrm>
            <a:off x="7507483" y="5338502"/>
            <a:ext cx="3161734" cy="712876"/>
          </a:xfrm>
        </p:spPr>
        <p:txBody>
          <a:bodyPr/>
          <a:lstStyle/>
          <a:p>
            <a:r>
              <a:rPr lang="en-US" noProof="0" dirty="0"/>
              <a:t>Benefit: </a:t>
            </a:r>
            <a:r>
              <a:rPr lang="en-US" dirty="0">
                <a:latin typeface="+mj-lt"/>
              </a:rPr>
              <a:t>Drive efficient issue resolution</a:t>
            </a:r>
            <a:r>
              <a:rPr lang="en-US" noProof="0" dirty="0"/>
              <a:t> with easy task creation and assignment to co-workers or functional groups within the store.</a:t>
            </a:r>
          </a:p>
        </p:txBody>
      </p:sp>
      <p:sp>
        <p:nvSpPr>
          <p:cNvPr id="95" name="Text Placeholder 94">
            <a:extLst>
              <a:ext uri="{FF2B5EF4-FFF2-40B4-BE49-F238E27FC236}">
                <a16:creationId xmlns:a16="http://schemas.microsoft.com/office/drawing/2014/main" id="{72CB2B19-365C-6E93-9D9A-7BD4186EB301}"/>
              </a:ext>
            </a:extLst>
          </p:cNvPr>
          <p:cNvSpPr>
            <a:spLocks noGrp="1"/>
          </p:cNvSpPr>
          <p:nvPr>
            <p:ph type="body" sz="quarter" idx="61"/>
          </p:nvPr>
        </p:nvSpPr>
        <p:spPr>
          <a:xfrm>
            <a:off x="7507483" y="3725103"/>
            <a:ext cx="3161734" cy="153888"/>
          </a:xfrm>
        </p:spPr>
        <p:txBody>
          <a:bodyPr/>
          <a:lstStyle/>
          <a:p>
            <a:r>
              <a:rPr lang="en-US" noProof="0"/>
              <a:t>Create a maintenance ticket</a:t>
            </a:r>
          </a:p>
        </p:txBody>
      </p:sp>
      <p:sp>
        <p:nvSpPr>
          <p:cNvPr id="96" name="Text Placeholder 95">
            <a:extLst>
              <a:ext uri="{FF2B5EF4-FFF2-40B4-BE49-F238E27FC236}">
                <a16:creationId xmlns:a16="http://schemas.microsoft.com/office/drawing/2014/main" id="{BD763845-6F92-1FCF-46E2-113903F027EB}"/>
              </a:ext>
            </a:extLst>
          </p:cNvPr>
          <p:cNvSpPr>
            <a:spLocks noGrp="1"/>
          </p:cNvSpPr>
          <p:nvPr>
            <p:ph type="body" sz="quarter" idx="62"/>
          </p:nvPr>
        </p:nvSpPr>
        <p:spPr>
          <a:xfrm>
            <a:off x="7507483" y="4050957"/>
            <a:ext cx="3161734" cy="626701"/>
          </a:xfrm>
        </p:spPr>
        <p:txBody>
          <a:bodyPr/>
          <a:lstStyle/>
          <a:p>
            <a:r>
              <a:rPr lang="en-US" noProof="0"/>
              <a:t>Ask copilot agent what to do upon discovery of damaged hardware while setting up the promotional display. Easily schedule a maintenance ticket by creating and assigning a new task.</a:t>
            </a:r>
          </a:p>
          <a:p>
            <a:endParaRPr lang="en-US" noProof="0"/>
          </a:p>
        </p:txBody>
      </p:sp>
      <p:sp>
        <p:nvSpPr>
          <p:cNvPr id="94" name="Text Placeholder 93">
            <a:extLst>
              <a:ext uri="{FF2B5EF4-FFF2-40B4-BE49-F238E27FC236}">
                <a16:creationId xmlns:a16="http://schemas.microsoft.com/office/drawing/2014/main" id="{8DFFBFC1-8EFA-96C4-219B-159AFF562473}"/>
              </a:ext>
            </a:extLst>
          </p:cNvPr>
          <p:cNvSpPr>
            <a:spLocks noGrp="1"/>
          </p:cNvSpPr>
          <p:nvPr>
            <p:ph type="body" sz="quarter" idx="68"/>
          </p:nvPr>
        </p:nvSpPr>
        <p:spPr>
          <a:xfrm>
            <a:off x="4036409" y="5338502"/>
            <a:ext cx="3161734" cy="712876"/>
          </a:xfrm>
        </p:spPr>
        <p:txBody>
          <a:bodyPr/>
          <a:lstStyle/>
          <a:p>
            <a:r>
              <a:rPr lang="en-US" noProof="0"/>
              <a:t>Benefit: </a:t>
            </a:r>
            <a:r>
              <a:rPr lang="en-US">
                <a:latin typeface="+mj-lt"/>
              </a:rPr>
              <a:t>Feel confident and informed </a:t>
            </a:r>
            <a:r>
              <a:rPr lang="en-US" noProof="0"/>
              <a:t>about company policies and procedures—reducing stress and vulnerability during critical onboarding and upskilling periods.</a:t>
            </a:r>
          </a:p>
        </p:txBody>
      </p:sp>
      <p:sp>
        <p:nvSpPr>
          <p:cNvPr id="98" name="Text Placeholder 97">
            <a:extLst>
              <a:ext uri="{FF2B5EF4-FFF2-40B4-BE49-F238E27FC236}">
                <a16:creationId xmlns:a16="http://schemas.microsoft.com/office/drawing/2014/main" id="{42679D58-8B31-2BE2-7E03-858545ED21D7}"/>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09" name="Text Placeholder 108">
            <a:extLst>
              <a:ext uri="{FF2B5EF4-FFF2-40B4-BE49-F238E27FC236}">
                <a16:creationId xmlns:a16="http://schemas.microsoft.com/office/drawing/2014/main" id="{C34F9E95-D9C8-91CD-8F75-8F1A9C9235FA}"/>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74" name="Text Placeholder 73">
            <a:extLst>
              <a:ext uri="{FF2B5EF4-FFF2-40B4-BE49-F238E27FC236}">
                <a16:creationId xmlns:a16="http://schemas.microsoft.com/office/drawing/2014/main" id="{0E5339A6-B3B0-B7F7-9226-04B1755541CE}"/>
              </a:ext>
            </a:extLst>
          </p:cNvPr>
          <p:cNvSpPr>
            <a:spLocks noGrp="1"/>
          </p:cNvSpPr>
          <p:nvPr>
            <p:ph type="body" sz="quarter" idx="33"/>
          </p:nvPr>
        </p:nvSpPr>
        <p:spPr>
          <a:xfrm>
            <a:off x="304800" y="414437"/>
            <a:ext cx="1941513" cy="307777"/>
          </a:xfrm>
        </p:spPr>
        <p:txBody>
          <a:bodyPr/>
          <a:lstStyle/>
          <a:p>
            <a:r>
              <a:rPr lang="en-US"/>
              <a:t>Retail</a:t>
            </a:r>
          </a:p>
        </p:txBody>
      </p:sp>
      <p:sp>
        <p:nvSpPr>
          <p:cNvPr id="73" name="Title 72">
            <a:extLst>
              <a:ext uri="{FF2B5EF4-FFF2-40B4-BE49-F238E27FC236}">
                <a16:creationId xmlns:a16="http://schemas.microsoft.com/office/drawing/2014/main" id="{E8E42A03-0AA0-418E-9D77-D80F4A8D1AFB}"/>
              </a:ext>
            </a:extLst>
          </p:cNvPr>
          <p:cNvSpPr>
            <a:spLocks noGrp="1"/>
          </p:cNvSpPr>
          <p:nvPr>
            <p:ph type="title"/>
          </p:nvPr>
        </p:nvSpPr>
        <p:spPr>
          <a:xfrm>
            <a:off x="2518338" y="337750"/>
            <a:ext cx="3644337" cy="553998"/>
          </a:xfrm>
        </p:spPr>
        <p:txBody>
          <a:bodyPr/>
          <a:lstStyle/>
          <a:p>
            <a:r>
              <a:rPr lang="en-US" noProof="0" dirty="0"/>
              <a:t>Improve customer service and info discovery</a:t>
            </a:r>
          </a:p>
        </p:txBody>
      </p:sp>
      <p:grpSp>
        <p:nvGrpSpPr>
          <p:cNvPr id="110" name="Group 109">
            <a:extLst>
              <a:ext uri="{FF2B5EF4-FFF2-40B4-BE49-F238E27FC236}">
                <a16:creationId xmlns:a16="http://schemas.microsoft.com/office/drawing/2014/main" id="{E54DE7B3-90BF-96A6-E7B1-815D95ED8498}"/>
              </a:ext>
            </a:extLst>
          </p:cNvPr>
          <p:cNvGrpSpPr/>
          <p:nvPr/>
        </p:nvGrpSpPr>
        <p:grpSpPr>
          <a:xfrm>
            <a:off x="320719" y="5020658"/>
            <a:ext cx="1771605" cy="216000"/>
            <a:chOff x="320719" y="4224856"/>
            <a:chExt cx="1771605" cy="219456"/>
          </a:xfrm>
        </p:grpSpPr>
        <p:sp>
          <p:nvSpPr>
            <p:cNvPr id="111" name="Rectangle: Rounded Corners 6">
              <a:extLst>
                <a:ext uri="{FF2B5EF4-FFF2-40B4-BE49-F238E27FC236}">
                  <a16:creationId xmlns:a16="http://schemas.microsoft.com/office/drawing/2014/main" id="{D7F0DAEC-D5E7-AC22-D70D-2250A296931A}"/>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12" name="Graphic 111">
              <a:extLst>
                <a:ext uri="{FF2B5EF4-FFF2-40B4-BE49-F238E27FC236}">
                  <a16:creationId xmlns:a16="http://schemas.microsoft.com/office/drawing/2014/main" id="{705317B8-5542-9E5F-8C1A-B4583A4B817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67506" y="4260849"/>
              <a:ext cx="144000" cy="144000"/>
            </a:xfrm>
            <a:prstGeom prst="rect">
              <a:avLst/>
            </a:prstGeom>
          </p:spPr>
        </p:pic>
      </p:grpSp>
      <p:grpSp>
        <p:nvGrpSpPr>
          <p:cNvPr id="113" name="Group 112">
            <a:extLst>
              <a:ext uri="{FF2B5EF4-FFF2-40B4-BE49-F238E27FC236}">
                <a16:creationId xmlns:a16="http://schemas.microsoft.com/office/drawing/2014/main" id="{9F96FAA3-E21F-A8F5-3C9C-5E58F236FFF4}"/>
              </a:ext>
            </a:extLst>
          </p:cNvPr>
          <p:cNvGrpSpPr/>
          <p:nvPr/>
        </p:nvGrpSpPr>
        <p:grpSpPr>
          <a:xfrm>
            <a:off x="320721" y="5309272"/>
            <a:ext cx="1771605" cy="216000"/>
            <a:chOff x="320721" y="4517211"/>
            <a:chExt cx="1771605" cy="216000"/>
          </a:xfrm>
        </p:grpSpPr>
        <p:sp>
          <p:nvSpPr>
            <p:cNvPr id="115" name="Rectangle: Rounded Corners 6">
              <a:extLst>
                <a:ext uri="{FF2B5EF4-FFF2-40B4-BE49-F238E27FC236}">
                  <a16:creationId xmlns:a16="http://schemas.microsoft.com/office/drawing/2014/main" id="{C43012C8-5377-1CA1-768A-B47E633F5C24}"/>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16" name="Graphic 115">
              <a:extLst>
                <a:ext uri="{FF2B5EF4-FFF2-40B4-BE49-F238E27FC236}">
                  <a16:creationId xmlns:a16="http://schemas.microsoft.com/office/drawing/2014/main" id="{12F285B0-5E7E-D86E-F9BE-2940203F16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7507" y="4552645"/>
              <a:ext cx="144000" cy="141732"/>
            </a:xfrm>
            <a:prstGeom prst="rect">
              <a:avLst/>
            </a:prstGeom>
          </p:spPr>
        </p:pic>
      </p:grpSp>
      <p:grpSp>
        <p:nvGrpSpPr>
          <p:cNvPr id="117" name="Group 116">
            <a:extLst>
              <a:ext uri="{FF2B5EF4-FFF2-40B4-BE49-F238E27FC236}">
                <a16:creationId xmlns:a16="http://schemas.microsoft.com/office/drawing/2014/main" id="{F689A733-729A-5FE3-1C48-C149001DC8B9}"/>
              </a:ext>
            </a:extLst>
          </p:cNvPr>
          <p:cNvGrpSpPr/>
          <p:nvPr/>
        </p:nvGrpSpPr>
        <p:grpSpPr>
          <a:xfrm>
            <a:off x="320719" y="3778836"/>
            <a:ext cx="1771605" cy="216000"/>
            <a:chOff x="320719" y="4224856"/>
            <a:chExt cx="1771605" cy="219456"/>
          </a:xfrm>
        </p:grpSpPr>
        <p:sp>
          <p:nvSpPr>
            <p:cNvPr id="118" name="Rectangle: Rounded Corners 6">
              <a:extLst>
                <a:ext uri="{FF2B5EF4-FFF2-40B4-BE49-F238E27FC236}">
                  <a16:creationId xmlns:a16="http://schemas.microsoft.com/office/drawing/2014/main" id="{87931ABE-042C-D68E-1B24-157DBC5D1711}"/>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119" name="Graphic 118">
              <a:extLst>
                <a:ext uri="{FF2B5EF4-FFF2-40B4-BE49-F238E27FC236}">
                  <a16:creationId xmlns:a16="http://schemas.microsoft.com/office/drawing/2014/main" id="{7E3CC734-9C48-BB26-DA28-679B3CD248A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120" name="Group 119">
            <a:extLst>
              <a:ext uri="{FF2B5EF4-FFF2-40B4-BE49-F238E27FC236}">
                <a16:creationId xmlns:a16="http://schemas.microsoft.com/office/drawing/2014/main" id="{A52B159D-633F-1EFE-1D6F-3522E31FD1F5}"/>
              </a:ext>
            </a:extLst>
          </p:cNvPr>
          <p:cNvGrpSpPr/>
          <p:nvPr/>
        </p:nvGrpSpPr>
        <p:grpSpPr>
          <a:xfrm>
            <a:off x="320721" y="4067450"/>
            <a:ext cx="1771605" cy="216000"/>
            <a:chOff x="320721" y="4517211"/>
            <a:chExt cx="1771605" cy="216000"/>
          </a:xfrm>
        </p:grpSpPr>
        <p:sp>
          <p:nvSpPr>
            <p:cNvPr id="121" name="Rectangle: Rounded Corners 6">
              <a:extLst>
                <a:ext uri="{FF2B5EF4-FFF2-40B4-BE49-F238E27FC236}">
                  <a16:creationId xmlns:a16="http://schemas.microsoft.com/office/drawing/2014/main" id="{93A95191-7B5A-CC39-3193-A930BC3B3335}"/>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ustomer satisfaction</a:t>
              </a:r>
            </a:p>
          </p:txBody>
        </p:sp>
        <p:pic>
          <p:nvPicPr>
            <p:cNvPr id="122" name="Graphic 121">
              <a:extLst>
                <a:ext uri="{FF2B5EF4-FFF2-40B4-BE49-F238E27FC236}">
                  <a16:creationId xmlns:a16="http://schemas.microsoft.com/office/drawing/2014/main" id="{30B0F66E-6B29-4B97-DF62-65FB5B7CD6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507" y="4552645"/>
              <a:ext cx="144000" cy="141732"/>
            </a:xfrm>
            <a:prstGeom prst="rect">
              <a:avLst/>
            </a:prstGeom>
          </p:spPr>
        </p:pic>
      </p:grpSp>
      <p:grpSp>
        <p:nvGrpSpPr>
          <p:cNvPr id="123" name="Group 122">
            <a:extLst>
              <a:ext uri="{FF2B5EF4-FFF2-40B4-BE49-F238E27FC236}">
                <a16:creationId xmlns:a16="http://schemas.microsoft.com/office/drawing/2014/main" id="{4A63D139-7B9C-4110-A9A0-0F747013848F}"/>
              </a:ext>
            </a:extLst>
          </p:cNvPr>
          <p:cNvGrpSpPr/>
          <p:nvPr/>
        </p:nvGrpSpPr>
        <p:grpSpPr>
          <a:xfrm>
            <a:off x="320719" y="4356602"/>
            <a:ext cx="1771605" cy="216000"/>
            <a:chOff x="320719" y="4224856"/>
            <a:chExt cx="1771605" cy="219456"/>
          </a:xfrm>
        </p:grpSpPr>
        <p:sp>
          <p:nvSpPr>
            <p:cNvPr id="124" name="Rectangle: Rounded Corners 6">
              <a:extLst>
                <a:ext uri="{FF2B5EF4-FFF2-40B4-BE49-F238E27FC236}">
                  <a16:creationId xmlns:a16="http://schemas.microsoft.com/office/drawing/2014/main" id="{78C88243-72CB-CED7-8AA4-091A0AB4777D}"/>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Employee churn</a:t>
              </a:r>
            </a:p>
          </p:txBody>
        </p:sp>
        <p:pic>
          <p:nvPicPr>
            <p:cNvPr id="125" name="Graphic 124">
              <a:extLst>
                <a:ext uri="{FF2B5EF4-FFF2-40B4-BE49-F238E27FC236}">
                  <a16:creationId xmlns:a16="http://schemas.microsoft.com/office/drawing/2014/main" id="{F1C3AF81-2780-C82A-E811-C7B679649EEF}"/>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sp>
        <p:nvSpPr>
          <p:cNvPr id="131" name="Graphic 2">
            <a:hlinkClick r:id="rId8"/>
            <a:extLst>
              <a:ext uri="{FF2B5EF4-FFF2-40B4-BE49-F238E27FC236}">
                <a16:creationId xmlns:a16="http://schemas.microsoft.com/office/drawing/2014/main" id="{7282EFCF-8759-BAC1-CEBC-19A0BCD28891}"/>
              </a:ext>
            </a:extLst>
          </p:cNvPr>
          <p:cNvSpPr>
            <a:spLocks/>
          </p:cNvSpPr>
          <p:nvPr/>
        </p:nvSpPr>
        <p:spPr>
          <a:xfrm>
            <a:off x="6304100" y="425284"/>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32" name="Straight Connector 131">
            <a:extLst>
              <a:ext uri="{FF2B5EF4-FFF2-40B4-BE49-F238E27FC236}">
                <a16:creationId xmlns:a16="http://schemas.microsoft.com/office/drawing/2014/main" id="{ABA77F3E-05CD-B953-5697-38BB87048489}"/>
              </a:ext>
            </a:extLst>
          </p:cNvPr>
          <p:cNvCxnSpPr>
            <a:cxnSpLocks/>
          </p:cNvCxnSpPr>
          <p:nvPr/>
        </p:nvCxnSpPr>
        <p:spPr>
          <a:xfrm>
            <a:off x="304800" y="3273981"/>
            <a:ext cx="2431246"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 name="Picture 1">
            <a:hlinkClick r:id="rId9"/>
            <a:extLst>
              <a:ext uri="{FF2B5EF4-FFF2-40B4-BE49-F238E27FC236}">
                <a16:creationId xmlns:a16="http://schemas.microsoft.com/office/drawing/2014/main" id="{CA180C03-AAF1-1A7D-186E-F418B7CEC164}"/>
              </a:ext>
              <a:ext uri="{C183D7F6-B498-43B3-948B-1728B52AA6E4}">
                <adec:decorative xmlns:adec="http://schemas.microsoft.com/office/drawing/2017/decorative" val="0"/>
              </a:ext>
            </a:extLst>
          </p:cNvPr>
          <p:cNvPicPr>
            <a:picLocks noChangeAspect="1"/>
          </p:cNvPicPr>
          <p:nvPr/>
        </p:nvPicPr>
        <p:blipFill rotWithShape="1">
          <a:blip r:embed="rId10"/>
          <a:srcRect b="3736"/>
          <a:stretch/>
        </p:blipFill>
        <p:spPr>
          <a:xfrm>
            <a:off x="4037013" y="4853435"/>
            <a:ext cx="224338" cy="215956"/>
          </a:xfrm>
          <a:prstGeom prst="rect">
            <a:avLst/>
          </a:prstGeom>
          <a:ln w="6657" cap="flat">
            <a:noFill/>
            <a:prstDash val="solid"/>
            <a:miter/>
          </a:ln>
          <a:effectLst/>
        </p:spPr>
      </p:pic>
      <p:sp>
        <p:nvSpPr>
          <p:cNvPr id="188" name="TextBox 187">
            <a:extLst>
              <a:ext uri="{FF2B5EF4-FFF2-40B4-BE49-F238E27FC236}">
                <a16:creationId xmlns:a16="http://schemas.microsoft.com/office/drawing/2014/main" id="{182E8B94-3031-50D0-E174-FC1D30D2F6C0}"/>
              </a:ext>
              <a:ext uri="{C183D7F6-B498-43B3-948B-1728B52AA6E4}">
                <adec:decorative xmlns:adec="http://schemas.microsoft.com/office/drawing/2017/decorative" val="0"/>
              </a:ext>
            </a:extLst>
          </p:cNvPr>
          <p:cNvSpPr txBox="1"/>
          <p:nvPr/>
        </p:nvSpPr>
        <p:spPr>
          <a:xfrm>
            <a:off x="9327307" y="2270123"/>
            <a:ext cx="2011680" cy="8979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Copilot agent for store operations on Azure OpenAI Service</a:t>
            </a:r>
            <a:r>
              <a:rPr kumimoji="0" lang="en-US" sz="900" b="0" i="0" u="none" strike="noStrike" kern="1200" cap="none" spc="0" normalizeH="0" baseline="30000" noProof="0">
                <a:ln>
                  <a:noFill/>
                </a:ln>
                <a:solidFill>
                  <a:srgbClr val="000000"/>
                </a:solidFill>
                <a:effectLst/>
                <a:uLnTx/>
                <a:uFillTx/>
                <a:latin typeface="Segoe UI Semibold"/>
                <a:ea typeface="+mn-ea"/>
                <a:cs typeface="+mn-cs"/>
              </a:rPr>
              <a:t>3</a:t>
            </a:r>
          </a:p>
        </p:txBody>
      </p:sp>
      <p:sp>
        <p:nvSpPr>
          <p:cNvPr id="185" name="TextBox 184">
            <a:extLst>
              <a:ext uri="{FF2B5EF4-FFF2-40B4-BE49-F238E27FC236}">
                <a16:creationId xmlns:a16="http://schemas.microsoft.com/office/drawing/2014/main" id="{D5107674-4C9A-47F2-8145-6FE844B13021}"/>
              </a:ext>
              <a:ext uri="{C183D7F6-B498-43B3-948B-1728B52AA6E4}">
                <adec:decorative xmlns:adec="http://schemas.microsoft.com/office/drawing/2017/decorative" val="0"/>
              </a:ext>
            </a:extLst>
          </p:cNvPr>
          <p:cNvSpPr txBox="1"/>
          <p:nvPr/>
        </p:nvSpPr>
        <p:spPr>
          <a:xfrm>
            <a:off x="6447645" y="2270123"/>
            <a:ext cx="2103120" cy="8979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Copilot agent for store operations on Azure OpenAI Service</a:t>
            </a:r>
            <a:r>
              <a:rPr kumimoji="0" lang="en-US" sz="900" b="0" i="0" u="none" strike="noStrike" kern="1200" cap="none" spc="0" normalizeH="0" baseline="30000" noProof="0">
                <a:ln>
                  <a:noFill/>
                </a:ln>
                <a:solidFill>
                  <a:srgbClr val="000000"/>
                </a:solidFill>
                <a:effectLst/>
                <a:uLnTx/>
                <a:uFillTx/>
                <a:latin typeface="Segoe UI Semibold"/>
                <a:ea typeface="+mn-ea"/>
                <a:cs typeface="+mn-cs"/>
              </a:rPr>
              <a:t>3</a:t>
            </a:r>
          </a:p>
        </p:txBody>
      </p:sp>
      <p:sp>
        <p:nvSpPr>
          <p:cNvPr id="182" name="TextBox 181">
            <a:extLst>
              <a:ext uri="{FF2B5EF4-FFF2-40B4-BE49-F238E27FC236}">
                <a16:creationId xmlns:a16="http://schemas.microsoft.com/office/drawing/2014/main" id="{1319E6E6-AEF0-2547-1630-8F6C69EC2912}"/>
              </a:ext>
              <a:ext uri="{C183D7F6-B498-43B3-948B-1728B52AA6E4}">
                <adec:decorative xmlns:adec="http://schemas.microsoft.com/office/drawing/2017/decorative" val="0"/>
              </a:ext>
            </a:extLst>
          </p:cNvPr>
          <p:cNvSpPr txBox="1"/>
          <p:nvPr/>
        </p:nvSpPr>
        <p:spPr>
          <a:xfrm>
            <a:off x="3559920" y="2270123"/>
            <a:ext cx="2103120" cy="8979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Copilot agent for store operations on Azure OpenAI Service</a:t>
            </a:r>
            <a:r>
              <a:rPr kumimoji="0" lang="en-US" sz="900" b="0" i="0" u="none" strike="noStrike" kern="1200" cap="none" spc="0" normalizeH="0" baseline="30000" noProof="0">
                <a:ln>
                  <a:noFill/>
                </a:ln>
                <a:solidFill>
                  <a:srgbClr val="000000"/>
                </a:solidFill>
                <a:effectLst/>
                <a:uLnTx/>
                <a:uFillTx/>
                <a:latin typeface="Segoe UI Semibold"/>
                <a:ea typeface="+mn-ea"/>
                <a:cs typeface="+mn-cs"/>
              </a:rPr>
              <a:t>3</a:t>
            </a:r>
          </a:p>
        </p:txBody>
      </p:sp>
      <p:pic>
        <p:nvPicPr>
          <p:cNvPr id="7" name="Picture 6">
            <a:extLst>
              <a:ext uri="{FF2B5EF4-FFF2-40B4-BE49-F238E27FC236}">
                <a16:creationId xmlns:a16="http://schemas.microsoft.com/office/drawing/2014/main" id="{413A7889-489F-8F7B-DFCE-03A8BE7D2111}"/>
              </a:ext>
              <a:ext uri="{C183D7F6-B498-43B3-948B-1728B52AA6E4}">
                <adec:decorative xmlns:adec="http://schemas.microsoft.com/office/drawing/2017/decorative" val="0"/>
              </a:ext>
            </a:extLst>
          </p:cNvPr>
          <p:cNvPicPr>
            <a:picLocks noChangeAspect="1"/>
          </p:cNvPicPr>
          <p:nvPr/>
        </p:nvPicPr>
        <p:blipFill rotWithShape="1">
          <a:blip r:embed="rId10"/>
          <a:srcRect b="3736"/>
          <a:stretch/>
        </p:blipFill>
        <p:spPr>
          <a:xfrm>
            <a:off x="8950325" y="2207040"/>
            <a:ext cx="224338" cy="215956"/>
          </a:xfrm>
          <a:prstGeom prst="rect">
            <a:avLst/>
          </a:prstGeom>
          <a:ln w="6657" cap="flat">
            <a:noFill/>
            <a:prstDash val="solid"/>
            <a:miter/>
          </a:ln>
          <a:effectLst/>
        </p:spPr>
      </p:pic>
      <p:pic>
        <p:nvPicPr>
          <p:cNvPr id="8" name="Picture 7">
            <a:extLst>
              <a:ext uri="{FF2B5EF4-FFF2-40B4-BE49-F238E27FC236}">
                <a16:creationId xmlns:a16="http://schemas.microsoft.com/office/drawing/2014/main" id="{6578A701-0457-67A5-96B0-C71BF1580408}"/>
              </a:ext>
              <a:ext uri="{C183D7F6-B498-43B3-948B-1728B52AA6E4}">
                <adec:decorative xmlns:adec="http://schemas.microsoft.com/office/drawing/2017/decorative" val="0"/>
              </a:ext>
            </a:extLst>
          </p:cNvPr>
          <p:cNvPicPr>
            <a:picLocks noChangeAspect="1"/>
          </p:cNvPicPr>
          <p:nvPr/>
        </p:nvPicPr>
        <p:blipFill rotWithShape="1">
          <a:blip r:embed="rId10"/>
          <a:srcRect b="3736"/>
          <a:stretch/>
        </p:blipFill>
        <p:spPr>
          <a:xfrm>
            <a:off x="6067425" y="2207040"/>
            <a:ext cx="224338" cy="215956"/>
          </a:xfrm>
          <a:prstGeom prst="rect">
            <a:avLst/>
          </a:prstGeom>
          <a:ln w="6657" cap="flat">
            <a:noFill/>
            <a:prstDash val="solid"/>
            <a:miter/>
          </a:ln>
          <a:effectLst/>
        </p:spPr>
      </p:pic>
      <p:pic>
        <p:nvPicPr>
          <p:cNvPr id="9" name="Picture 8">
            <a:extLst>
              <a:ext uri="{FF2B5EF4-FFF2-40B4-BE49-F238E27FC236}">
                <a16:creationId xmlns:a16="http://schemas.microsoft.com/office/drawing/2014/main" id="{0C03612B-8ED8-0F30-2BA4-83DC35D602B3}"/>
              </a:ext>
              <a:ext uri="{C183D7F6-B498-43B3-948B-1728B52AA6E4}">
                <adec:decorative xmlns:adec="http://schemas.microsoft.com/office/drawing/2017/decorative" val="0"/>
              </a:ext>
            </a:extLst>
          </p:cNvPr>
          <p:cNvPicPr>
            <a:picLocks noChangeAspect="1"/>
          </p:cNvPicPr>
          <p:nvPr/>
        </p:nvPicPr>
        <p:blipFill rotWithShape="1">
          <a:blip r:embed="rId10"/>
          <a:srcRect b="3736"/>
          <a:stretch/>
        </p:blipFill>
        <p:spPr>
          <a:xfrm>
            <a:off x="3182938" y="2207040"/>
            <a:ext cx="224338" cy="215956"/>
          </a:xfrm>
          <a:prstGeom prst="rect">
            <a:avLst/>
          </a:prstGeom>
          <a:ln w="6657" cap="flat">
            <a:noFill/>
            <a:prstDash val="solid"/>
            <a:miter/>
          </a:ln>
          <a:effectLst/>
        </p:spPr>
      </p:pic>
      <p:pic>
        <p:nvPicPr>
          <p:cNvPr id="10" name="Picture 9">
            <a:extLst>
              <a:ext uri="{FF2B5EF4-FFF2-40B4-BE49-F238E27FC236}">
                <a16:creationId xmlns:a16="http://schemas.microsoft.com/office/drawing/2014/main" id="{613290DA-3E25-6275-EB8F-CD115362E181}"/>
              </a:ext>
              <a:ext uri="{C183D7F6-B498-43B3-948B-1728B52AA6E4}">
                <adec:decorative xmlns:adec="http://schemas.microsoft.com/office/drawing/2017/decorative" val="0"/>
              </a:ext>
            </a:extLst>
          </p:cNvPr>
          <p:cNvPicPr>
            <a:picLocks noChangeAspect="1"/>
          </p:cNvPicPr>
          <p:nvPr/>
        </p:nvPicPr>
        <p:blipFill rotWithShape="1">
          <a:blip r:embed="rId10"/>
          <a:srcRect b="3736"/>
          <a:stretch/>
        </p:blipFill>
        <p:spPr>
          <a:xfrm>
            <a:off x="7507288" y="4840226"/>
            <a:ext cx="224338" cy="215956"/>
          </a:xfrm>
          <a:prstGeom prst="rect">
            <a:avLst/>
          </a:prstGeom>
          <a:ln w="6657" cap="flat">
            <a:noFill/>
            <a:prstDash val="solid"/>
            <a:miter/>
          </a:ln>
          <a:effectLst/>
        </p:spPr>
      </p:pic>
      <p:sp>
        <p:nvSpPr>
          <p:cNvPr id="191" name="TextBox 190">
            <a:extLst>
              <a:ext uri="{FF2B5EF4-FFF2-40B4-BE49-F238E27FC236}">
                <a16:creationId xmlns:a16="http://schemas.microsoft.com/office/drawing/2014/main" id="{243CF5F6-0685-1BBE-E779-3138A065C4EC}"/>
              </a:ext>
              <a:ext uri="{C183D7F6-B498-43B3-948B-1728B52AA6E4}">
                <adec:decorative xmlns:adec="http://schemas.microsoft.com/office/drawing/2017/decorative" val="0"/>
              </a:ext>
            </a:extLst>
          </p:cNvPr>
          <p:cNvSpPr txBox="1"/>
          <p:nvPr/>
        </p:nvSpPr>
        <p:spPr>
          <a:xfrm>
            <a:off x="4417233" y="4693921"/>
            <a:ext cx="1886867" cy="534984"/>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Copilot agent for store operations on Azure OpenAI Service</a:t>
            </a:r>
            <a:r>
              <a:rPr kumimoji="0" lang="en-US" sz="900" b="0" i="0" u="none" strike="noStrike" kern="1200" cap="none" spc="0" normalizeH="0" baseline="30000" noProof="0">
                <a:ln>
                  <a:noFill/>
                </a:ln>
                <a:solidFill>
                  <a:srgbClr val="000000"/>
                </a:solidFill>
                <a:effectLst/>
                <a:uLnTx/>
                <a:uFillTx/>
                <a:latin typeface="Segoe UI Semibold"/>
                <a:ea typeface="+mn-ea"/>
                <a:cs typeface="+mn-cs"/>
              </a:rPr>
              <a:t>3</a:t>
            </a:r>
          </a:p>
        </p:txBody>
      </p:sp>
      <p:sp>
        <p:nvSpPr>
          <p:cNvPr id="1026" name="TextBox 1025">
            <a:extLst>
              <a:ext uri="{FF2B5EF4-FFF2-40B4-BE49-F238E27FC236}">
                <a16:creationId xmlns:a16="http://schemas.microsoft.com/office/drawing/2014/main" id="{9F4E2F06-66B6-29C4-9CCB-A056B8F0E270}"/>
              </a:ext>
              <a:ext uri="{C183D7F6-B498-43B3-948B-1728B52AA6E4}">
                <adec:decorative xmlns:adec="http://schemas.microsoft.com/office/drawing/2017/decorative" val="0"/>
              </a:ext>
            </a:extLst>
          </p:cNvPr>
          <p:cNvSpPr txBox="1"/>
          <p:nvPr/>
        </p:nvSpPr>
        <p:spPr>
          <a:xfrm>
            <a:off x="7866235" y="4900611"/>
            <a:ext cx="1886867" cy="95186"/>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Copilot agent for store operations on Azure OpenAI Service</a:t>
            </a:r>
            <a:r>
              <a:rPr kumimoji="0" lang="en-US" sz="900" b="0" i="0" u="none" strike="noStrike" kern="1200" cap="none" spc="0" normalizeH="0" baseline="30000" noProof="0">
                <a:ln>
                  <a:noFill/>
                </a:ln>
                <a:solidFill>
                  <a:srgbClr val="000000"/>
                </a:solidFill>
                <a:effectLst/>
                <a:uLnTx/>
                <a:uFillTx/>
                <a:latin typeface="Segoe UI Semibold"/>
                <a:ea typeface="+mn-ea"/>
                <a:cs typeface="+mn-cs"/>
              </a:rPr>
              <a:t>3</a:t>
            </a:r>
          </a:p>
        </p:txBody>
      </p:sp>
    </p:spTree>
    <p:extLst>
      <p:ext uri="{BB962C8B-B14F-4D97-AF65-F5344CB8AC3E}">
        <p14:creationId xmlns:p14="http://schemas.microsoft.com/office/powerpoint/2010/main" val="308431917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4A0092-68A2-DE21-573F-9CA448E94B6C}"/>
            </a:ext>
          </a:extLst>
        </p:cNvPr>
        <p:cNvGrpSpPr/>
        <p:nvPr/>
      </p:nvGrpSpPr>
      <p:grpSpPr>
        <a:xfrm>
          <a:off x="0" y="0"/>
          <a:ext cx="0" cy="0"/>
          <a:chOff x="0" y="0"/>
          <a:chExt cx="0" cy="0"/>
        </a:xfrm>
      </p:grpSpPr>
      <p:sp>
        <p:nvSpPr>
          <p:cNvPr id="75" name="Text Placeholder 74">
            <a:extLst>
              <a:ext uri="{FF2B5EF4-FFF2-40B4-BE49-F238E27FC236}">
                <a16:creationId xmlns:a16="http://schemas.microsoft.com/office/drawing/2014/main" id="{DA59CE2A-A4DA-66DA-6E6C-4C14F6FBB666}"/>
              </a:ext>
            </a:extLst>
          </p:cNvPr>
          <p:cNvSpPr>
            <a:spLocks noGrp="1"/>
          </p:cNvSpPr>
          <p:nvPr>
            <p:ph type="body" sz="quarter" idx="42"/>
          </p:nvPr>
        </p:nvSpPr>
        <p:spPr>
          <a:xfrm>
            <a:off x="311388" y="1026303"/>
            <a:ext cx="2431246" cy="1131079"/>
          </a:xfrm>
        </p:spPr>
        <p:txBody>
          <a:bodyPr/>
          <a:lstStyle/>
          <a:p>
            <a:r>
              <a:rPr lang="en-US" noProof="0" dirty="0"/>
              <a:t>Enhance personalized shopping experiences and support for online shoppers by leveraging AI-driven digital assistants to boost customer satisfaction, streamline the shopping process, and drive sales.</a:t>
            </a:r>
          </a:p>
          <a:p>
            <a:endParaRPr lang="en-US" dirty="0"/>
          </a:p>
          <a:p>
            <a:r>
              <a:rPr kumimoji="0" lang="en-US" sz="1050" b="0" i="0" u="none" strike="noStrike" kern="1200" cap="none" spc="0" normalizeH="0" baseline="0" noProof="0" dirty="0">
                <a:ln>
                  <a:noFill/>
                </a:ln>
                <a:solidFill>
                  <a:srgbClr val="000000"/>
                </a:solidFill>
                <a:effectLst/>
                <a:uLnTx/>
                <a:uFillTx/>
                <a:latin typeface="Segoe UI Semibold"/>
                <a:ea typeface="+mn-ea"/>
                <a:cs typeface="+mn-cs"/>
              </a:rPr>
              <a:t>Implementation information: </a:t>
            </a:r>
            <a:r>
              <a:rPr kumimoji="0" lang="en-US" sz="1050" b="0" i="0" u="none" strike="noStrike" kern="1200" cap="none" spc="0" normalizeH="0" baseline="0" noProof="0" dirty="0">
                <a:ln>
                  <a:noFill/>
                </a:ln>
                <a:solidFill>
                  <a:srgbClr val="000000"/>
                </a:solidFill>
                <a:effectLst/>
                <a:uLnTx/>
                <a:uFillTx/>
                <a:latin typeface="Segoe UI Semibold"/>
                <a:ea typeface="+mn-ea"/>
                <a:cs typeface="+mn-cs"/>
                <a:hlinkClick r:id="rId3"/>
              </a:rPr>
              <a:t>Personalized shopping agent</a:t>
            </a: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a:p>
            <a:endParaRPr lang="en-US" noProof="0" dirty="0"/>
          </a:p>
        </p:txBody>
      </p:sp>
      <p:sp>
        <p:nvSpPr>
          <p:cNvPr id="76" name="Text Placeholder 75">
            <a:extLst>
              <a:ext uri="{FF2B5EF4-FFF2-40B4-BE49-F238E27FC236}">
                <a16:creationId xmlns:a16="http://schemas.microsoft.com/office/drawing/2014/main" id="{C2823732-5DE2-0D76-F430-7850B528195A}"/>
              </a:ext>
            </a:extLst>
          </p:cNvPr>
          <p:cNvSpPr>
            <a:spLocks noGrp="1"/>
          </p:cNvSpPr>
          <p:nvPr>
            <p:ph type="body" sz="quarter" idx="43"/>
          </p:nvPr>
        </p:nvSpPr>
        <p:spPr>
          <a:xfrm>
            <a:off x="10430351" y="521099"/>
            <a:ext cx="1456966" cy="175614"/>
          </a:xfrm>
        </p:spPr>
        <p:txBody>
          <a:bodyPr/>
          <a:lstStyle/>
          <a:p>
            <a:r>
              <a:rPr lang="en-US" noProof="0"/>
              <a:t>Build</a:t>
            </a:r>
          </a:p>
        </p:txBody>
      </p:sp>
      <p:sp>
        <p:nvSpPr>
          <p:cNvPr id="77" name="Text Placeholder 76">
            <a:extLst>
              <a:ext uri="{FF2B5EF4-FFF2-40B4-BE49-F238E27FC236}">
                <a16:creationId xmlns:a16="http://schemas.microsoft.com/office/drawing/2014/main" id="{62B1DE58-FA88-9124-C7F2-C791B06AF7CF}"/>
              </a:ext>
            </a:extLst>
          </p:cNvPr>
          <p:cNvSpPr>
            <a:spLocks noGrp="1"/>
          </p:cNvSpPr>
          <p:nvPr>
            <p:ph type="body" sz="quarter" idx="44"/>
          </p:nvPr>
        </p:nvSpPr>
        <p:spPr>
          <a:xfrm>
            <a:off x="7149557" y="521100"/>
            <a:ext cx="2969488" cy="169277"/>
          </a:xfrm>
        </p:spPr>
        <p:txBody>
          <a:bodyPr/>
          <a:lstStyle/>
          <a:p>
            <a:r>
              <a:rPr lang="en-US" noProof="0"/>
              <a:t>Azure AI Foundry</a:t>
            </a:r>
          </a:p>
        </p:txBody>
      </p:sp>
      <p:sp>
        <p:nvSpPr>
          <p:cNvPr id="23" name="Text Placeholder 22">
            <a:extLst>
              <a:ext uri="{FF2B5EF4-FFF2-40B4-BE49-F238E27FC236}">
                <a16:creationId xmlns:a16="http://schemas.microsoft.com/office/drawing/2014/main" id="{E7277D03-71A0-9FB8-143A-E3A8FD78EDEC}"/>
              </a:ext>
            </a:extLst>
          </p:cNvPr>
          <p:cNvSpPr>
            <a:spLocks noGrp="1"/>
          </p:cNvSpPr>
          <p:nvPr>
            <p:ph type="body" sz="quarter" idx="46"/>
          </p:nvPr>
        </p:nvSpPr>
        <p:spPr>
          <a:xfrm>
            <a:off x="3182889" y="2725494"/>
            <a:ext cx="2572262" cy="712876"/>
          </a:xfrm>
        </p:spPr>
        <p:txBody>
          <a:bodyPr/>
          <a:lstStyle/>
          <a:p>
            <a:r>
              <a:rPr lang="en-US" noProof="0" dirty="0"/>
              <a:t>Benefit: </a:t>
            </a:r>
            <a:r>
              <a:rPr lang="en-US" dirty="0">
                <a:latin typeface="+mj-lt"/>
              </a:rPr>
              <a:t>Boost basket size</a:t>
            </a:r>
            <a:r>
              <a:rPr lang="en-US" noProof="0" dirty="0"/>
              <a:t> with a highly personalized experience.</a:t>
            </a:r>
          </a:p>
        </p:txBody>
      </p:sp>
      <p:sp>
        <p:nvSpPr>
          <p:cNvPr id="83" name="Text Placeholder 82">
            <a:extLst>
              <a:ext uri="{FF2B5EF4-FFF2-40B4-BE49-F238E27FC236}">
                <a16:creationId xmlns:a16="http://schemas.microsoft.com/office/drawing/2014/main" id="{AAA93D86-AF92-B64D-D6D1-5D61A58E531B}"/>
              </a:ext>
            </a:extLst>
          </p:cNvPr>
          <p:cNvSpPr>
            <a:spLocks noGrp="1"/>
          </p:cNvSpPr>
          <p:nvPr>
            <p:ph type="body" sz="quarter" idx="47"/>
          </p:nvPr>
        </p:nvSpPr>
        <p:spPr>
          <a:xfrm>
            <a:off x="3182890" y="1112478"/>
            <a:ext cx="2572262" cy="153888"/>
          </a:xfrm>
        </p:spPr>
        <p:txBody>
          <a:bodyPr/>
          <a:lstStyle/>
          <a:p>
            <a:r>
              <a:rPr lang="en-US" noProof="0"/>
              <a:t>Improve product discovery</a:t>
            </a:r>
          </a:p>
        </p:txBody>
      </p:sp>
      <p:sp>
        <p:nvSpPr>
          <p:cNvPr id="85" name="Text Placeholder 84">
            <a:extLst>
              <a:ext uri="{FF2B5EF4-FFF2-40B4-BE49-F238E27FC236}">
                <a16:creationId xmlns:a16="http://schemas.microsoft.com/office/drawing/2014/main" id="{23A3F400-D2C0-BD1E-E92B-48DF8B5338B6}"/>
              </a:ext>
            </a:extLst>
          </p:cNvPr>
          <p:cNvSpPr>
            <a:spLocks noGrp="1"/>
          </p:cNvSpPr>
          <p:nvPr>
            <p:ph type="body" sz="quarter" idx="48"/>
          </p:nvPr>
        </p:nvSpPr>
        <p:spPr>
          <a:xfrm>
            <a:off x="3182890" y="1438715"/>
            <a:ext cx="2572262" cy="626701"/>
          </a:xfrm>
        </p:spPr>
        <p:txBody>
          <a:bodyPr/>
          <a:lstStyle/>
          <a:p>
            <a:r>
              <a:rPr lang="en-US" noProof="0"/>
              <a:t>Customers can discover the right products for their needs through a conversational search experience – like talking to an expert, rather than keyword searches and unstructured browsing.</a:t>
            </a:r>
          </a:p>
          <a:p>
            <a:endParaRPr lang="en-US" noProof="0"/>
          </a:p>
        </p:txBody>
      </p:sp>
      <p:sp>
        <p:nvSpPr>
          <p:cNvPr id="86" name="Text Placeholder 85">
            <a:extLst>
              <a:ext uri="{FF2B5EF4-FFF2-40B4-BE49-F238E27FC236}">
                <a16:creationId xmlns:a16="http://schemas.microsoft.com/office/drawing/2014/main" id="{79BE6C9F-30CC-F242-D3C3-210354A71430}"/>
              </a:ext>
            </a:extLst>
          </p:cNvPr>
          <p:cNvSpPr>
            <a:spLocks noGrp="1"/>
          </p:cNvSpPr>
          <p:nvPr>
            <p:ph type="body" sz="quarter" idx="49"/>
          </p:nvPr>
        </p:nvSpPr>
        <p:spPr>
          <a:xfrm>
            <a:off x="6066682" y="1112478"/>
            <a:ext cx="2572262" cy="153888"/>
          </a:xfrm>
        </p:spPr>
        <p:txBody>
          <a:bodyPr/>
          <a:lstStyle/>
          <a:p>
            <a:r>
              <a:rPr lang="en-US" noProof="0"/>
              <a:t>Deliver personalization</a:t>
            </a:r>
          </a:p>
        </p:txBody>
      </p:sp>
      <p:sp>
        <p:nvSpPr>
          <p:cNvPr id="87" name="Text Placeholder 86">
            <a:extLst>
              <a:ext uri="{FF2B5EF4-FFF2-40B4-BE49-F238E27FC236}">
                <a16:creationId xmlns:a16="http://schemas.microsoft.com/office/drawing/2014/main" id="{CA20436F-DE9C-54E6-759E-32B750331049}"/>
              </a:ext>
            </a:extLst>
          </p:cNvPr>
          <p:cNvSpPr>
            <a:spLocks noGrp="1"/>
          </p:cNvSpPr>
          <p:nvPr>
            <p:ph type="body" sz="quarter" idx="50"/>
          </p:nvPr>
        </p:nvSpPr>
        <p:spPr>
          <a:xfrm>
            <a:off x="6066682" y="1438715"/>
            <a:ext cx="2572262" cy="626701"/>
          </a:xfrm>
        </p:spPr>
        <p:txBody>
          <a:bodyPr/>
          <a:lstStyle/>
          <a:p>
            <a:r>
              <a:rPr lang="en-US" noProof="0"/>
              <a:t>Increase shopper engagement through expressive back-and-forth conversation. Personalize results using described context factors like season, formality, location, and more.</a:t>
            </a:r>
          </a:p>
        </p:txBody>
      </p:sp>
      <p:sp>
        <p:nvSpPr>
          <p:cNvPr id="91" name="Text Placeholder 90">
            <a:extLst>
              <a:ext uri="{FF2B5EF4-FFF2-40B4-BE49-F238E27FC236}">
                <a16:creationId xmlns:a16="http://schemas.microsoft.com/office/drawing/2014/main" id="{EF67A8E2-D788-7034-63E0-34D5DE1FDF7B}"/>
              </a:ext>
            </a:extLst>
          </p:cNvPr>
          <p:cNvSpPr>
            <a:spLocks noGrp="1"/>
          </p:cNvSpPr>
          <p:nvPr>
            <p:ph type="body" sz="quarter" idx="67"/>
          </p:nvPr>
        </p:nvSpPr>
        <p:spPr>
          <a:xfrm>
            <a:off x="8950475" y="2725494"/>
            <a:ext cx="2572262" cy="712876"/>
          </a:xfrm>
        </p:spPr>
        <p:txBody>
          <a:bodyPr/>
          <a:lstStyle/>
          <a:p>
            <a:r>
              <a:rPr lang="en-US" noProof="0"/>
              <a:t>Benefit: </a:t>
            </a:r>
            <a:r>
              <a:rPr lang="en-US">
                <a:latin typeface="+mj-lt"/>
              </a:rPr>
              <a:t>Make the shopping experience more personal and pleasurable</a:t>
            </a:r>
            <a:r>
              <a:rPr lang="en-US" noProof="0"/>
              <a:t> and reflect your unique brand and voice.</a:t>
            </a:r>
          </a:p>
        </p:txBody>
      </p:sp>
      <p:sp>
        <p:nvSpPr>
          <p:cNvPr id="89" name="Text Placeholder 88">
            <a:extLst>
              <a:ext uri="{FF2B5EF4-FFF2-40B4-BE49-F238E27FC236}">
                <a16:creationId xmlns:a16="http://schemas.microsoft.com/office/drawing/2014/main" id="{7B36872A-C0F2-ECE9-DF43-F915FA2EF5B1}"/>
              </a:ext>
            </a:extLst>
          </p:cNvPr>
          <p:cNvSpPr>
            <a:spLocks noGrp="1"/>
          </p:cNvSpPr>
          <p:nvPr>
            <p:ph type="body" sz="quarter" idx="52"/>
          </p:nvPr>
        </p:nvSpPr>
        <p:spPr>
          <a:xfrm>
            <a:off x="8950475" y="1112478"/>
            <a:ext cx="2572262" cy="153888"/>
          </a:xfrm>
        </p:spPr>
        <p:txBody>
          <a:bodyPr/>
          <a:lstStyle/>
          <a:p>
            <a:r>
              <a:rPr lang="en-US" noProof="0"/>
              <a:t>Provide brand differentiation</a:t>
            </a:r>
          </a:p>
        </p:txBody>
      </p:sp>
      <p:sp>
        <p:nvSpPr>
          <p:cNvPr id="90" name="Text Placeholder 89">
            <a:extLst>
              <a:ext uri="{FF2B5EF4-FFF2-40B4-BE49-F238E27FC236}">
                <a16:creationId xmlns:a16="http://schemas.microsoft.com/office/drawing/2014/main" id="{F03728AD-3D5D-F140-8534-C07520FFFC62}"/>
              </a:ext>
            </a:extLst>
          </p:cNvPr>
          <p:cNvSpPr>
            <a:spLocks noGrp="1"/>
          </p:cNvSpPr>
          <p:nvPr>
            <p:ph type="body" sz="quarter" idx="53"/>
          </p:nvPr>
        </p:nvSpPr>
        <p:spPr>
          <a:xfrm>
            <a:off x="8950475" y="1438715"/>
            <a:ext cx="2572262" cy="626701"/>
          </a:xfrm>
        </p:spPr>
        <p:txBody>
          <a:bodyPr/>
          <a:lstStyle/>
          <a:p>
            <a:r>
              <a:rPr lang="en-US" noProof="0"/>
              <a:t>Separate yourself from the competition with a search experience that makes product discovery easy and efficient while preserving your own brand, voice, and expertise.</a:t>
            </a:r>
          </a:p>
          <a:p>
            <a:endParaRPr lang="en-US" noProof="0"/>
          </a:p>
        </p:txBody>
      </p:sp>
      <p:sp>
        <p:nvSpPr>
          <p:cNvPr id="88" name="Text Placeholder 87">
            <a:extLst>
              <a:ext uri="{FF2B5EF4-FFF2-40B4-BE49-F238E27FC236}">
                <a16:creationId xmlns:a16="http://schemas.microsoft.com/office/drawing/2014/main" id="{24F7AA29-F654-8351-2EBC-B1414FB989C5}"/>
              </a:ext>
            </a:extLst>
          </p:cNvPr>
          <p:cNvSpPr>
            <a:spLocks noGrp="1"/>
          </p:cNvSpPr>
          <p:nvPr>
            <p:ph type="body" sz="quarter" idx="66"/>
          </p:nvPr>
        </p:nvSpPr>
        <p:spPr>
          <a:xfrm>
            <a:off x="6066682" y="2725494"/>
            <a:ext cx="2572262" cy="712876"/>
          </a:xfrm>
        </p:spPr>
        <p:txBody>
          <a:bodyPr/>
          <a:lstStyle/>
          <a:p>
            <a:r>
              <a:rPr lang="en-US" noProof="0"/>
              <a:t>Benefit: </a:t>
            </a:r>
            <a:r>
              <a:rPr lang="en-US">
                <a:latin typeface="+mj-lt"/>
              </a:rPr>
              <a:t>Understand your customer</a:t>
            </a:r>
            <a:r>
              <a:rPr lang="en-US" noProof="0"/>
              <a:t> through order history and conversationally-described context.</a:t>
            </a:r>
          </a:p>
        </p:txBody>
      </p:sp>
      <p:sp>
        <p:nvSpPr>
          <p:cNvPr id="92" name="Text Placeholder 91">
            <a:extLst>
              <a:ext uri="{FF2B5EF4-FFF2-40B4-BE49-F238E27FC236}">
                <a16:creationId xmlns:a16="http://schemas.microsoft.com/office/drawing/2014/main" id="{458C09D7-F803-BE4D-901D-A1BCFA7E59B6}"/>
              </a:ext>
            </a:extLst>
          </p:cNvPr>
          <p:cNvSpPr>
            <a:spLocks noGrp="1"/>
          </p:cNvSpPr>
          <p:nvPr>
            <p:ph type="body" sz="quarter" idx="58"/>
          </p:nvPr>
        </p:nvSpPr>
        <p:spPr>
          <a:xfrm>
            <a:off x="4036409" y="3725103"/>
            <a:ext cx="3161734" cy="153888"/>
          </a:xfrm>
        </p:spPr>
        <p:txBody>
          <a:bodyPr/>
          <a:lstStyle/>
          <a:p>
            <a:r>
              <a:rPr lang="en-US" noProof="0"/>
              <a:t>Build your first-party data estate</a:t>
            </a:r>
          </a:p>
        </p:txBody>
      </p:sp>
      <p:sp>
        <p:nvSpPr>
          <p:cNvPr id="93" name="Text Placeholder 92">
            <a:extLst>
              <a:ext uri="{FF2B5EF4-FFF2-40B4-BE49-F238E27FC236}">
                <a16:creationId xmlns:a16="http://schemas.microsoft.com/office/drawing/2014/main" id="{1CFA31EB-5A31-4D1C-1540-6A6C3664C1A2}"/>
              </a:ext>
            </a:extLst>
          </p:cNvPr>
          <p:cNvSpPr>
            <a:spLocks noGrp="1"/>
          </p:cNvSpPr>
          <p:nvPr>
            <p:ph type="body" sz="quarter" idx="59"/>
          </p:nvPr>
        </p:nvSpPr>
        <p:spPr>
          <a:xfrm>
            <a:off x="4036409" y="4050957"/>
            <a:ext cx="3161734" cy="626701"/>
          </a:xfrm>
        </p:spPr>
        <p:txBody>
          <a:bodyPr/>
          <a:lstStyle/>
          <a:p>
            <a:r>
              <a:rPr lang="en-US" noProof="0"/>
              <a:t>Feed data from customer interactions into retail data solutions in Microsoft Fabric for real-time analytics and insights. </a:t>
            </a:r>
          </a:p>
          <a:p>
            <a:endParaRPr lang="en-US" noProof="0"/>
          </a:p>
        </p:txBody>
      </p:sp>
      <p:sp>
        <p:nvSpPr>
          <p:cNvPr id="97" name="Text Placeholder 96">
            <a:extLst>
              <a:ext uri="{FF2B5EF4-FFF2-40B4-BE49-F238E27FC236}">
                <a16:creationId xmlns:a16="http://schemas.microsoft.com/office/drawing/2014/main" id="{58C1D8D6-4F06-7FEC-6A57-0A587ED5A204}"/>
              </a:ext>
            </a:extLst>
          </p:cNvPr>
          <p:cNvSpPr>
            <a:spLocks noGrp="1"/>
          </p:cNvSpPr>
          <p:nvPr>
            <p:ph type="body" sz="quarter" idx="69"/>
          </p:nvPr>
        </p:nvSpPr>
        <p:spPr>
          <a:xfrm>
            <a:off x="7507483" y="5338502"/>
            <a:ext cx="3161734" cy="712876"/>
          </a:xfrm>
        </p:spPr>
        <p:txBody>
          <a:bodyPr/>
          <a:lstStyle/>
          <a:p>
            <a:r>
              <a:rPr lang="en-US" noProof="0"/>
              <a:t>Benefit: </a:t>
            </a:r>
            <a:r>
              <a:rPr lang="en-US">
                <a:latin typeface="+mj-lt"/>
              </a:rPr>
              <a:t>Leverage the latest Microsoft technologies </a:t>
            </a:r>
            <a:r>
              <a:rPr lang="en-US" noProof="0"/>
              <a:t>such as Azure OpenAI, ChatGPT, Azure Cognitive Search, and Power Apps, and extend the solution through the Microsoft third-party ISV ecosystem.</a:t>
            </a:r>
          </a:p>
        </p:txBody>
      </p:sp>
      <p:sp>
        <p:nvSpPr>
          <p:cNvPr id="95" name="Text Placeholder 94">
            <a:extLst>
              <a:ext uri="{FF2B5EF4-FFF2-40B4-BE49-F238E27FC236}">
                <a16:creationId xmlns:a16="http://schemas.microsoft.com/office/drawing/2014/main" id="{252928E0-E1CA-AEBD-1D34-F068F73FC8CC}"/>
              </a:ext>
            </a:extLst>
          </p:cNvPr>
          <p:cNvSpPr>
            <a:spLocks noGrp="1"/>
          </p:cNvSpPr>
          <p:nvPr>
            <p:ph type="body" sz="quarter" idx="61"/>
          </p:nvPr>
        </p:nvSpPr>
        <p:spPr>
          <a:xfrm>
            <a:off x="7507483" y="3725103"/>
            <a:ext cx="3161734" cy="153888"/>
          </a:xfrm>
        </p:spPr>
        <p:txBody>
          <a:bodyPr/>
          <a:lstStyle/>
          <a:p>
            <a:r>
              <a:rPr lang="en-US" noProof="0"/>
              <a:t>Accelerate time-to-value</a:t>
            </a:r>
          </a:p>
        </p:txBody>
      </p:sp>
      <p:sp>
        <p:nvSpPr>
          <p:cNvPr id="96" name="Text Placeholder 95">
            <a:extLst>
              <a:ext uri="{FF2B5EF4-FFF2-40B4-BE49-F238E27FC236}">
                <a16:creationId xmlns:a16="http://schemas.microsoft.com/office/drawing/2014/main" id="{B3E30516-621A-1690-24FB-06256C16A925}"/>
              </a:ext>
            </a:extLst>
          </p:cNvPr>
          <p:cNvSpPr>
            <a:spLocks noGrp="1"/>
          </p:cNvSpPr>
          <p:nvPr>
            <p:ph type="body" sz="quarter" idx="62"/>
          </p:nvPr>
        </p:nvSpPr>
        <p:spPr>
          <a:xfrm>
            <a:off x="7507483" y="4050957"/>
            <a:ext cx="3161734" cy="626701"/>
          </a:xfrm>
        </p:spPr>
        <p:txBody>
          <a:bodyPr/>
          <a:lstStyle/>
          <a:p>
            <a:r>
              <a:rPr lang="en-US" noProof="0"/>
              <a:t>Get to run-state right away, with zero training time. Microsoft AI experts designed a model for the specific needs of retail shopping. Realize immediate value out-of-the-box and receive the latest updates.</a:t>
            </a:r>
          </a:p>
          <a:p>
            <a:endParaRPr lang="en-US" noProof="0"/>
          </a:p>
        </p:txBody>
      </p:sp>
      <p:sp>
        <p:nvSpPr>
          <p:cNvPr id="94" name="Text Placeholder 93">
            <a:extLst>
              <a:ext uri="{FF2B5EF4-FFF2-40B4-BE49-F238E27FC236}">
                <a16:creationId xmlns:a16="http://schemas.microsoft.com/office/drawing/2014/main" id="{706337D5-200D-28D8-0A5B-6E611448464E}"/>
              </a:ext>
            </a:extLst>
          </p:cNvPr>
          <p:cNvSpPr>
            <a:spLocks noGrp="1"/>
          </p:cNvSpPr>
          <p:nvPr>
            <p:ph type="body" sz="quarter" idx="68"/>
          </p:nvPr>
        </p:nvSpPr>
        <p:spPr>
          <a:xfrm>
            <a:off x="4036409" y="5338502"/>
            <a:ext cx="3161734" cy="712876"/>
          </a:xfrm>
        </p:spPr>
        <p:txBody>
          <a:bodyPr/>
          <a:lstStyle/>
          <a:p>
            <a:r>
              <a:rPr lang="en-US" noProof="0"/>
              <a:t>Benefit: </a:t>
            </a:r>
            <a:r>
              <a:rPr lang="en-US">
                <a:latin typeface="+mj-lt"/>
              </a:rPr>
              <a:t>Gain an unparalleled look</a:t>
            </a:r>
            <a:r>
              <a:rPr lang="en-US" noProof="0"/>
              <a:t> into who your customer is and how you can best serve them by analyzing conversational chats.</a:t>
            </a:r>
          </a:p>
        </p:txBody>
      </p:sp>
      <p:sp>
        <p:nvSpPr>
          <p:cNvPr id="131" name="Text Placeholder 130">
            <a:extLst>
              <a:ext uri="{FF2B5EF4-FFF2-40B4-BE49-F238E27FC236}">
                <a16:creationId xmlns:a16="http://schemas.microsoft.com/office/drawing/2014/main" id="{4672E912-2EF4-F65E-43D2-C14457467C4A}"/>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32" name="Text Placeholder 131">
            <a:extLst>
              <a:ext uri="{FF2B5EF4-FFF2-40B4-BE49-F238E27FC236}">
                <a16:creationId xmlns:a16="http://schemas.microsoft.com/office/drawing/2014/main" id="{A255630B-670D-0ECE-6896-903A0CBFD360}"/>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74" name="Text Placeholder 73">
            <a:extLst>
              <a:ext uri="{FF2B5EF4-FFF2-40B4-BE49-F238E27FC236}">
                <a16:creationId xmlns:a16="http://schemas.microsoft.com/office/drawing/2014/main" id="{9F80141D-841C-C85B-1105-FEFD40227261}"/>
              </a:ext>
            </a:extLst>
          </p:cNvPr>
          <p:cNvSpPr>
            <a:spLocks noGrp="1"/>
          </p:cNvSpPr>
          <p:nvPr>
            <p:ph type="body" sz="quarter" idx="33"/>
          </p:nvPr>
        </p:nvSpPr>
        <p:spPr>
          <a:xfrm>
            <a:off x="304796" y="413987"/>
            <a:ext cx="1941119" cy="307777"/>
          </a:xfrm>
        </p:spPr>
        <p:txBody>
          <a:bodyPr/>
          <a:lstStyle/>
          <a:p>
            <a:r>
              <a:rPr lang="en-US" noProof="0"/>
              <a:t>Retail</a:t>
            </a:r>
          </a:p>
        </p:txBody>
      </p:sp>
      <p:sp>
        <p:nvSpPr>
          <p:cNvPr id="73" name="Title 72">
            <a:extLst>
              <a:ext uri="{FF2B5EF4-FFF2-40B4-BE49-F238E27FC236}">
                <a16:creationId xmlns:a16="http://schemas.microsoft.com/office/drawing/2014/main" id="{C9A90D44-CB7C-73A4-BBA1-0B60EA79F66C}"/>
              </a:ext>
            </a:extLst>
          </p:cNvPr>
          <p:cNvSpPr>
            <a:spLocks noGrp="1"/>
          </p:cNvSpPr>
          <p:nvPr>
            <p:ph type="title"/>
          </p:nvPr>
        </p:nvSpPr>
        <p:spPr>
          <a:xfrm>
            <a:off x="2492556" y="429376"/>
            <a:ext cx="4144817" cy="276999"/>
          </a:xfrm>
        </p:spPr>
        <p:txBody>
          <a:bodyPr>
            <a:spAutoFit/>
          </a:bodyPr>
          <a:lstStyle/>
          <a:p>
            <a:r>
              <a:rPr lang="en-US" noProof="0" dirty="0"/>
              <a:t>Create personalized shopping journeys</a:t>
            </a:r>
          </a:p>
        </p:txBody>
      </p:sp>
      <p:cxnSp>
        <p:nvCxnSpPr>
          <p:cNvPr id="136" name="Straight Connector 135">
            <a:extLst>
              <a:ext uri="{FF2B5EF4-FFF2-40B4-BE49-F238E27FC236}">
                <a16:creationId xmlns:a16="http://schemas.microsoft.com/office/drawing/2014/main" id="{D3C8554B-25F1-C670-BBA8-669263880465}"/>
              </a:ext>
            </a:extLst>
          </p:cNvPr>
          <p:cNvCxnSpPr>
            <a:cxnSpLocks/>
          </p:cNvCxnSpPr>
          <p:nvPr/>
        </p:nvCxnSpPr>
        <p:spPr>
          <a:xfrm>
            <a:off x="304800" y="3273981"/>
            <a:ext cx="2431246"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59" name="Group 158">
            <a:extLst>
              <a:ext uri="{FF2B5EF4-FFF2-40B4-BE49-F238E27FC236}">
                <a16:creationId xmlns:a16="http://schemas.microsoft.com/office/drawing/2014/main" id="{9ACED137-2186-45C3-4F46-36749B2FEF1E}"/>
              </a:ext>
            </a:extLst>
          </p:cNvPr>
          <p:cNvGrpSpPr/>
          <p:nvPr/>
        </p:nvGrpSpPr>
        <p:grpSpPr>
          <a:xfrm>
            <a:off x="320719" y="5020658"/>
            <a:ext cx="1771605" cy="216000"/>
            <a:chOff x="320719" y="4224856"/>
            <a:chExt cx="1771605" cy="219456"/>
          </a:xfrm>
        </p:grpSpPr>
        <p:sp>
          <p:nvSpPr>
            <p:cNvPr id="160" name="Rectangle: Rounded Corners 6">
              <a:extLst>
                <a:ext uri="{FF2B5EF4-FFF2-40B4-BE49-F238E27FC236}">
                  <a16:creationId xmlns:a16="http://schemas.microsoft.com/office/drawing/2014/main" id="{BAF4B5F1-65B0-DB45-B40A-5F5311172156}"/>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61" name="Graphic 160">
              <a:extLst>
                <a:ext uri="{FF2B5EF4-FFF2-40B4-BE49-F238E27FC236}">
                  <a16:creationId xmlns:a16="http://schemas.microsoft.com/office/drawing/2014/main" id="{38E77972-4A57-834B-5235-9BE6D63F68C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67506" y="4260849"/>
              <a:ext cx="144000" cy="144000"/>
            </a:xfrm>
            <a:prstGeom prst="rect">
              <a:avLst/>
            </a:prstGeom>
          </p:spPr>
        </p:pic>
      </p:grpSp>
      <p:grpSp>
        <p:nvGrpSpPr>
          <p:cNvPr id="162" name="Group 161">
            <a:extLst>
              <a:ext uri="{FF2B5EF4-FFF2-40B4-BE49-F238E27FC236}">
                <a16:creationId xmlns:a16="http://schemas.microsoft.com/office/drawing/2014/main" id="{9692BAF1-8975-B8EF-2AD9-DFB6915585F6}"/>
              </a:ext>
            </a:extLst>
          </p:cNvPr>
          <p:cNvGrpSpPr/>
          <p:nvPr/>
        </p:nvGrpSpPr>
        <p:grpSpPr>
          <a:xfrm>
            <a:off x="320721" y="5309272"/>
            <a:ext cx="1771605" cy="216000"/>
            <a:chOff x="320721" y="4517211"/>
            <a:chExt cx="1771605" cy="216000"/>
          </a:xfrm>
        </p:grpSpPr>
        <p:sp>
          <p:nvSpPr>
            <p:cNvPr id="163" name="Rectangle: Rounded Corners 6">
              <a:extLst>
                <a:ext uri="{FF2B5EF4-FFF2-40B4-BE49-F238E27FC236}">
                  <a16:creationId xmlns:a16="http://schemas.microsoft.com/office/drawing/2014/main" id="{BD9ED468-C212-E41E-E7A1-E515A3D0284A}"/>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64" name="Graphic 163">
              <a:extLst>
                <a:ext uri="{FF2B5EF4-FFF2-40B4-BE49-F238E27FC236}">
                  <a16:creationId xmlns:a16="http://schemas.microsoft.com/office/drawing/2014/main" id="{CE49CC95-894A-A6BF-9880-ADB5FBB836C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7507" y="4552645"/>
              <a:ext cx="144000" cy="141732"/>
            </a:xfrm>
            <a:prstGeom prst="rect">
              <a:avLst/>
            </a:prstGeom>
          </p:spPr>
        </p:pic>
      </p:grpSp>
      <p:grpSp>
        <p:nvGrpSpPr>
          <p:cNvPr id="165" name="Group 164">
            <a:extLst>
              <a:ext uri="{FF2B5EF4-FFF2-40B4-BE49-F238E27FC236}">
                <a16:creationId xmlns:a16="http://schemas.microsoft.com/office/drawing/2014/main" id="{C4986C48-DB83-1683-F2EB-31790C678C09}"/>
              </a:ext>
            </a:extLst>
          </p:cNvPr>
          <p:cNvGrpSpPr/>
          <p:nvPr/>
        </p:nvGrpSpPr>
        <p:grpSpPr>
          <a:xfrm>
            <a:off x="320719" y="3778836"/>
            <a:ext cx="1771605" cy="216000"/>
            <a:chOff x="320719" y="4224856"/>
            <a:chExt cx="1771605" cy="219456"/>
          </a:xfrm>
        </p:grpSpPr>
        <p:sp>
          <p:nvSpPr>
            <p:cNvPr id="166" name="Rectangle: Rounded Corners 6">
              <a:extLst>
                <a:ext uri="{FF2B5EF4-FFF2-40B4-BE49-F238E27FC236}">
                  <a16:creationId xmlns:a16="http://schemas.microsoft.com/office/drawing/2014/main" id="{A45B03EA-E9BE-51DA-56E2-3DB36AEDD30F}"/>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167" name="Graphic 166">
              <a:extLst>
                <a:ext uri="{FF2B5EF4-FFF2-40B4-BE49-F238E27FC236}">
                  <a16:creationId xmlns:a16="http://schemas.microsoft.com/office/drawing/2014/main" id="{B89F8CDB-2794-F8BF-432E-FE0FDEBF92FA}"/>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168" name="Group 167">
            <a:extLst>
              <a:ext uri="{FF2B5EF4-FFF2-40B4-BE49-F238E27FC236}">
                <a16:creationId xmlns:a16="http://schemas.microsoft.com/office/drawing/2014/main" id="{085E08E0-F02F-C699-C80F-E1BA283CB711}"/>
              </a:ext>
            </a:extLst>
          </p:cNvPr>
          <p:cNvGrpSpPr/>
          <p:nvPr/>
        </p:nvGrpSpPr>
        <p:grpSpPr>
          <a:xfrm>
            <a:off x="320721" y="4067450"/>
            <a:ext cx="1771605" cy="216000"/>
            <a:chOff x="320721" y="4517211"/>
            <a:chExt cx="1771605" cy="216000"/>
          </a:xfrm>
        </p:grpSpPr>
        <p:sp>
          <p:nvSpPr>
            <p:cNvPr id="169" name="Rectangle: Rounded Corners 6">
              <a:extLst>
                <a:ext uri="{FF2B5EF4-FFF2-40B4-BE49-F238E27FC236}">
                  <a16:creationId xmlns:a16="http://schemas.microsoft.com/office/drawing/2014/main" id="{B1A996A1-6906-318C-85A2-DA4A50050389}"/>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ustomer satisfaction</a:t>
              </a:r>
            </a:p>
          </p:txBody>
        </p:sp>
        <p:pic>
          <p:nvPicPr>
            <p:cNvPr id="170" name="Graphic 169">
              <a:extLst>
                <a:ext uri="{FF2B5EF4-FFF2-40B4-BE49-F238E27FC236}">
                  <a16:creationId xmlns:a16="http://schemas.microsoft.com/office/drawing/2014/main" id="{95836516-50B3-6BFE-B712-21211118120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507" y="4552645"/>
              <a:ext cx="144000" cy="141732"/>
            </a:xfrm>
            <a:prstGeom prst="rect">
              <a:avLst/>
            </a:prstGeom>
          </p:spPr>
        </p:pic>
      </p:grpSp>
      <p:grpSp>
        <p:nvGrpSpPr>
          <p:cNvPr id="171" name="Group 170">
            <a:extLst>
              <a:ext uri="{FF2B5EF4-FFF2-40B4-BE49-F238E27FC236}">
                <a16:creationId xmlns:a16="http://schemas.microsoft.com/office/drawing/2014/main" id="{BDA39614-29DB-3AC0-D290-3CDAFC37DA29}"/>
              </a:ext>
            </a:extLst>
          </p:cNvPr>
          <p:cNvGrpSpPr/>
          <p:nvPr/>
        </p:nvGrpSpPr>
        <p:grpSpPr>
          <a:xfrm>
            <a:off x="320719" y="4356602"/>
            <a:ext cx="1771605" cy="216000"/>
            <a:chOff x="320719" y="4224856"/>
            <a:chExt cx="1771605" cy="219456"/>
          </a:xfrm>
        </p:grpSpPr>
        <p:sp>
          <p:nvSpPr>
            <p:cNvPr id="172" name="Rectangle: Rounded Corners 6">
              <a:extLst>
                <a:ext uri="{FF2B5EF4-FFF2-40B4-BE49-F238E27FC236}">
                  <a16:creationId xmlns:a16="http://schemas.microsoft.com/office/drawing/2014/main" id="{09CDDD7D-CB10-8B33-6CFC-DAEE27E8E290}"/>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onversion rate</a:t>
              </a:r>
            </a:p>
          </p:txBody>
        </p:sp>
        <p:pic>
          <p:nvPicPr>
            <p:cNvPr id="173" name="Graphic 172">
              <a:extLst>
                <a:ext uri="{FF2B5EF4-FFF2-40B4-BE49-F238E27FC236}">
                  <a16:creationId xmlns:a16="http://schemas.microsoft.com/office/drawing/2014/main" id="{088B6BD9-AABF-AA30-88E9-DE02DFE08ABE}"/>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pic>
        <p:nvPicPr>
          <p:cNvPr id="2" name="Picture 1">
            <a:hlinkClick r:id="rId8"/>
            <a:extLst>
              <a:ext uri="{FF2B5EF4-FFF2-40B4-BE49-F238E27FC236}">
                <a16:creationId xmlns:a16="http://schemas.microsoft.com/office/drawing/2014/main" id="{F7A62393-5867-5EFD-6B8E-C98614145421}"/>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4037013" y="4853435"/>
            <a:ext cx="224338" cy="215956"/>
          </a:xfrm>
          <a:prstGeom prst="rect">
            <a:avLst/>
          </a:prstGeom>
          <a:ln w="6657" cap="flat">
            <a:noFill/>
            <a:prstDash val="solid"/>
            <a:miter/>
          </a:ln>
          <a:effectLst/>
        </p:spPr>
      </p:pic>
      <p:sp>
        <p:nvSpPr>
          <p:cNvPr id="1028" name="TextBox 1027">
            <a:extLst>
              <a:ext uri="{FF2B5EF4-FFF2-40B4-BE49-F238E27FC236}">
                <a16:creationId xmlns:a16="http://schemas.microsoft.com/office/drawing/2014/main" id="{B6407D37-E7D1-386D-8A9F-4923BB5620F4}"/>
              </a:ext>
              <a:ext uri="{C183D7F6-B498-43B3-948B-1728B52AA6E4}">
                <adec:decorative xmlns:adec="http://schemas.microsoft.com/office/drawing/2017/decorative" val="0"/>
              </a:ext>
            </a:extLst>
          </p:cNvPr>
          <p:cNvSpPr txBox="1"/>
          <p:nvPr/>
        </p:nvSpPr>
        <p:spPr>
          <a:xfrm>
            <a:off x="9327307" y="2176519"/>
            <a:ext cx="2156668"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Copilot agent for personalized shopping on Azure OpenAI Service</a:t>
            </a:r>
            <a:r>
              <a:rPr kumimoji="0" lang="en-US" sz="900" b="0" i="0" u="none" strike="noStrike" kern="1200" cap="none" spc="0" normalizeH="0" baseline="30000" noProof="0">
                <a:ln>
                  <a:noFill/>
                </a:ln>
                <a:solidFill>
                  <a:srgbClr val="000000"/>
                </a:solidFill>
                <a:effectLst/>
                <a:uLnTx/>
                <a:uFillTx/>
                <a:latin typeface="Segoe UI Semibold"/>
                <a:ea typeface="+mn-ea"/>
                <a:cs typeface="+mn-cs"/>
              </a:rPr>
              <a:t>3</a:t>
            </a:r>
          </a:p>
        </p:txBody>
      </p:sp>
      <p:sp>
        <p:nvSpPr>
          <p:cNvPr id="1025" name="TextBox 1024">
            <a:extLst>
              <a:ext uri="{FF2B5EF4-FFF2-40B4-BE49-F238E27FC236}">
                <a16:creationId xmlns:a16="http://schemas.microsoft.com/office/drawing/2014/main" id="{024B525A-057A-2A49-C192-697896A1EFFB}"/>
              </a:ext>
              <a:ext uri="{C183D7F6-B498-43B3-948B-1728B52AA6E4}">
                <adec:decorative xmlns:adec="http://schemas.microsoft.com/office/drawing/2017/decorative" val="0"/>
              </a:ext>
            </a:extLst>
          </p:cNvPr>
          <p:cNvSpPr txBox="1"/>
          <p:nvPr/>
        </p:nvSpPr>
        <p:spPr>
          <a:xfrm>
            <a:off x="6447645" y="2270123"/>
            <a:ext cx="2103120" cy="8979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Copilot agent for personalized shopping on Azure OpenAI Service</a:t>
            </a:r>
            <a:r>
              <a:rPr kumimoji="0" lang="en-US" sz="900" b="0" i="0" u="none" strike="noStrike" kern="1200" cap="none" spc="0" normalizeH="0" baseline="30000" noProof="0">
                <a:ln>
                  <a:noFill/>
                </a:ln>
                <a:solidFill>
                  <a:srgbClr val="000000"/>
                </a:solidFill>
                <a:effectLst/>
                <a:uLnTx/>
                <a:uFillTx/>
                <a:latin typeface="Segoe UI Semibold"/>
                <a:ea typeface="+mn-ea"/>
                <a:cs typeface="+mn-cs"/>
              </a:rPr>
              <a:t>3</a:t>
            </a:r>
          </a:p>
        </p:txBody>
      </p:sp>
      <p:sp>
        <p:nvSpPr>
          <p:cNvPr id="190" name="TextBox 189">
            <a:extLst>
              <a:ext uri="{FF2B5EF4-FFF2-40B4-BE49-F238E27FC236}">
                <a16:creationId xmlns:a16="http://schemas.microsoft.com/office/drawing/2014/main" id="{0BDD1580-476C-3415-8E5E-1FF6CF6A00A0}"/>
              </a:ext>
              <a:ext uri="{C183D7F6-B498-43B3-948B-1728B52AA6E4}">
                <adec:decorative xmlns:adec="http://schemas.microsoft.com/office/drawing/2017/decorative" val="0"/>
              </a:ext>
            </a:extLst>
          </p:cNvPr>
          <p:cNvSpPr txBox="1"/>
          <p:nvPr/>
        </p:nvSpPr>
        <p:spPr>
          <a:xfrm>
            <a:off x="3559920" y="2270123"/>
            <a:ext cx="2103120" cy="8979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Copilot agent for personalized shopping on Azure OpenAI Service</a:t>
            </a:r>
            <a:r>
              <a:rPr kumimoji="0" lang="en-US" sz="900" b="0" i="0" u="none" strike="noStrike" kern="1200" cap="none" spc="0" normalizeH="0" baseline="30000" noProof="0">
                <a:ln>
                  <a:noFill/>
                </a:ln>
                <a:solidFill>
                  <a:srgbClr val="000000"/>
                </a:solidFill>
                <a:effectLst/>
                <a:uLnTx/>
                <a:uFillTx/>
                <a:latin typeface="Segoe UI Semibold"/>
                <a:ea typeface="+mn-ea"/>
                <a:cs typeface="+mn-cs"/>
              </a:rPr>
              <a:t>3</a:t>
            </a:r>
          </a:p>
        </p:txBody>
      </p:sp>
      <p:pic>
        <p:nvPicPr>
          <p:cNvPr id="6" name="Picture 5">
            <a:extLst>
              <a:ext uri="{FF2B5EF4-FFF2-40B4-BE49-F238E27FC236}">
                <a16:creationId xmlns:a16="http://schemas.microsoft.com/office/drawing/2014/main" id="{C31E4B45-534E-413B-B2F4-C412A774AB2E}"/>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8950325" y="2207040"/>
            <a:ext cx="224338" cy="215956"/>
          </a:xfrm>
          <a:prstGeom prst="rect">
            <a:avLst/>
          </a:prstGeom>
          <a:ln w="6657" cap="flat">
            <a:noFill/>
            <a:prstDash val="solid"/>
            <a:miter/>
          </a:ln>
          <a:effectLst/>
        </p:spPr>
      </p:pic>
      <p:pic>
        <p:nvPicPr>
          <p:cNvPr id="7" name="Picture 6">
            <a:extLst>
              <a:ext uri="{FF2B5EF4-FFF2-40B4-BE49-F238E27FC236}">
                <a16:creationId xmlns:a16="http://schemas.microsoft.com/office/drawing/2014/main" id="{4B938C22-E60F-BF6D-4B64-2DCEE0C3F96B}"/>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6067425" y="2207040"/>
            <a:ext cx="224338" cy="215956"/>
          </a:xfrm>
          <a:prstGeom prst="rect">
            <a:avLst/>
          </a:prstGeom>
          <a:ln w="6657" cap="flat">
            <a:noFill/>
            <a:prstDash val="solid"/>
            <a:miter/>
          </a:ln>
          <a:effectLst/>
        </p:spPr>
      </p:pic>
      <p:pic>
        <p:nvPicPr>
          <p:cNvPr id="8" name="Picture 7">
            <a:extLst>
              <a:ext uri="{FF2B5EF4-FFF2-40B4-BE49-F238E27FC236}">
                <a16:creationId xmlns:a16="http://schemas.microsoft.com/office/drawing/2014/main" id="{2A1ADAF7-8F83-F682-4693-569AFEB6A07E}"/>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3182938" y="2207040"/>
            <a:ext cx="224338" cy="215956"/>
          </a:xfrm>
          <a:prstGeom prst="rect">
            <a:avLst/>
          </a:prstGeom>
          <a:ln w="6657" cap="flat">
            <a:noFill/>
            <a:prstDash val="solid"/>
            <a:miter/>
          </a:ln>
          <a:effectLst/>
        </p:spPr>
      </p:pic>
      <p:pic>
        <p:nvPicPr>
          <p:cNvPr id="9" name="Picture 8">
            <a:extLst>
              <a:ext uri="{FF2B5EF4-FFF2-40B4-BE49-F238E27FC236}">
                <a16:creationId xmlns:a16="http://schemas.microsoft.com/office/drawing/2014/main" id="{D50DED2E-2650-1F81-DDCA-0997BDF21F2B}"/>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7507288" y="4840226"/>
            <a:ext cx="224338" cy="215956"/>
          </a:xfrm>
          <a:prstGeom prst="rect">
            <a:avLst/>
          </a:prstGeom>
          <a:ln w="6657" cap="flat">
            <a:noFill/>
            <a:prstDash val="solid"/>
            <a:miter/>
          </a:ln>
          <a:effectLst/>
        </p:spPr>
      </p:pic>
      <p:sp>
        <p:nvSpPr>
          <p:cNvPr id="1031" name="TextBox 1030">
            <a:extLst>
              <a:ext uri="{FF2B5EF4-FFF2-40B4-BE49-F238E27FC236}">
                <a16:creationId xmlns:a16="http://schemas.microsoft.com/office/drawing/2014/main" id="{40A9AE99-AE8B-B4AA-7A8D-87520A6587AA}"/>
              </a:ext>
              <a:ext uri="{C183D7F6-B498-43B3-948B-1728B52AA6E4}">
                <adec:decorative xmlns:adec="http://schemas.microsoft.com/office/drawing/2017/decorative" val="0"/>
              </a:ext>
            </a:extLst>
          </p:cNvPr>
          <p:cNvSpPr txBox="1"/>
          <p:nvPr/>
        </p:nvSpPr>
        <p:spPr>
          <a:xfrm>
            <a:off x="4417233" y="4693921"/>
            <a:ext cx="1886867" cy="534984"/>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Copilot agent for personalized shopping on Azure OpenAI Service</a:t>
            </a:r>
            <a:r>
              <a:rPr kumimoji="0" lang="en-US" sz="900" b="0" i="0" u="none" strike="noStrike" kern="1200" cap="none" spc="0" normalizeH="0" baseline="30000" noProof="0">
                <a:ln>
                  <a:noFill/>
                </a:ln>
                <a:solidFill>
                  <a:srgbClr val="000000"/>
                </a:solidFill>
                <a:effectLst/>
                <a:uLnTx/>
                <a:uFillTx/>
                <a:latin typeface="Segoe UI Semibold"/>
                <a:ea typeface="+mn-ea"/>
                <a:cs typeface="+mn-cs"/>
              </a:rPr>
              <a:t>3</a:t>
            </a:r>
          </a:p>
        </p:txBody>
      </p:sp>
      <p:sp>
        <p:nvSpPr>
          <p:cNvPr id="1034" name="TextBox 1033">
            <a:extLst>
              <a:ext uri="{FF2B5EF4-FFF2-40B4-BE49-F238E27FC236}">
                <a16:creationId xmlns:a16="http://schemas.microsoft.com/office/drawing/2014/main" id="{9EA7BF0E-8FE9-09A0-7594-0041950BBA78}"/>
              </a:ext>
              <a:ext uri="{C183D7F6-B498-43B3-948B-1728B52AA6E4}">
                <adec:decorative xmlns:adec="http://schemas.microsoft.com/office/drawing/2017/decorative" val="0"/>
              </a:ext>
            </a:extLst>
          </p:cNvPr>
          <p:cNvSpPr txBox="1"/>
          <p:nvPr/>
        </p:nvSpPr>
        <p:spPr>
          <a:xfrm>
            <a:off x="7866235" y="4900611"/>
            <a:ext cx="1886867" cy="95186"/>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mn-cs"/>
              </a:rPr>
              <a:t>Copilot agent for personalized shopping on Azure OpenAI Service</a:t>
            </a:r>
            <a:r>
              <a:rPr kumimoji="0" lang="en-US" sz="900" b="0" i="0" u="none" strike="noStrike" kern="1200" cap="none" spc="0" normalizeH="0" baseline="30000" noProof="0">
                <a:ln>
                  <a:noFill/>
                </a:ln>
                <a:solidFill>
                  <a:srgbClr val="000000"/>
                </a:solidFill>
                <a:effectLst/>
                <a:uLnTx/>
                <a:uFillTx/>
                <a:latin typeface="Segoe UI Semibold"/>
                <a:ea typeface="+mn-ea"/>
                <a:cs typeface="+mn-cs"/>
              </a:rPr>
              <a:t>3</a:t>
            </a:r>
          </a:p>
        </p:txBody>
      </p:sp>
    </p:spTree>
    <p:extLst>
      <p:ext uri="{BB962C8B-B14F-4D97-AF65-F5344CB8AC3E}">
        <p14:creationId xmlns:p14="http://schemas.microsoft.com/office/powerpoint/2010/main" val="381140935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16E23B-48E7-D2AD-1309-65F589643A12}"/>
            </a:ext>
          </a:extLst>
        </p:cNvPr>
        <p:cNvGrpSpPr/>
        <p:nvPr/>
      </p:nvGrpSpPr>
      <p:grpSpPr>
        <a:xfrm>
          <a:off x="0" y="0"/>
          <a:ext cx="0" cy="0"/>
          <a:chOff x="0" y="0"/>
          <a:chExt cx="0" cy="0"/>
        </a:xfrm>
      </p:grpSpPr>
      <p:sp>
        <p:nvSpPr>
          <p:cNvPr id="8" name="Available with">
            <a:extLst>
              <a:ext uri="{FF2B5EF4-FFF2-40B4-BE49-F238E27FC236}">
                <a16:creationId xmlns:a16="http://schemas.microsoft.com/office/drawing/2014/main" id="{897F931E-B2B8-4D65-9D37-2A3A8F3FCB2A}"/>
              </a:ext>
            </a:extLst>
          </p:cNvPr>
          <p:cNvSpPr txBox="1"/>
          <p:nvPr/>
        </p:nvSpPr>
        <p:spPr>
          <a:xfrm>
            <a:off x="9126798" y="351933"/>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Available with:</a:t>
            </a:r>
          </a:p>
        </p:txBody>
      </p:sp>
      <p:sp>
        <p:nvSpPr>
          <p:cNvPr id="2" name="Title 1">
            <a:extLst>
              <a:ext uri="{FF2B5EF4-FFF2-40B4-BE49-F238E27FC236}">
                <a16:creationId xmlns:a16="http://schemas.microsoft.com/office/drawing/2014/main" id="{C0706FCC-9B18-6B4E-7853-4936344E6D7F}"/>
              </a:ext>
            </a:extLst>
          </p:cNvPr>
          <p:cNvSpPr>
            <a:spLocks noGrp="1"/>
          </p:cNvSpPr>
          <p:nvPr>
            <p:ph type="title"/>
          </p:nvPr>
        </p:nvSpPr>
        <p:spPr>
          <a:xfrm>
            <a:off x="584200" y="387766"/>
            <a:ext cx="5672544" cy="263149"/>
          </a:xfrm>
        </p:spPr>
        <p:txBody>
          <a:bodyPr/>
          <a:lstStyle/>
          <a:p>
            <a:r>
              <a:rPr lang="en-US" noProof="0" dirty="0"/>
              <a:t>A day in the life of a Store Associate</a:t>
            </a:r>
          </a:p>
        </p:txBody>
      </p:sp>
      <p:sp>
        <p:nvSpPr>
          <p:cNvPr id="92" name="Text Placeholder 91">
            <a:extLst>
              <a:ext uri="{FF2B5EF4-FFF2-40B4-BE49-F238E27FC236}">
                <a16:creationId xmlns:a16="http://schemas.microsoft.com/office/drawing/2014/main" id="{25ACBB51-7457-A39A-E094-1BB215B5FB33}"/>
              </a:ext>
            </a:extLst>
          </p:cNvPr>
          <p:cNvSpPr>
            <a:spLocks noGrp="1"/>
          </p:cNvSpPr>
          <p:nvPr>
            <p:ph type="body" sz="quarter" idx="17"/>
          </p:nvPr>
        </p:nvSpPr>
        <p:spPr>
          <a:xfrm>
            <a:off x="6519107" y="521099"/>
            <a:ext cx="3599821" cy="169277"/>
          </a:xfrm>
        </p:spPr>
        <p:txBody>
          <a:bodyPr/>
          <a:lstStyle/>
          <a:p>
            <a:r>
              <a:rPr lang="en-US" noProof="0" dirty="0"/>
              <a:t>Microsoft 365 Copilot Chat</a:t>
            </a:r>
          </a:p>
        </p:txBody>
      </p:sp>
      <p:sp>
        <p:nvSpPr>
          <p:cNvPr id="107" name="Text Placeholder 106">
            <a:extLst>
              <a:ext uri="{FF2B5EF4-FFF2-40B4-BE49-F238E27FC236}">
                <a16:creationId xmlns:a16="http://schemas.microsoft.com/office/drawing/2014/main" id="{7C7CF738-4939-9E51-9E15-F804874081EE}"/>
              </a:ext>
            </a:extLst>
          </p:cNvPr>
          <p:cNvSpPr>
            <a:spLocks noGrp="1"/>
          </p:cNvSpPr>
          <p:nvPr>
            <p:ph type="body" sz="quarter" idx="37"/>
          </p:nvPr>
        </p:nvSpPr>
        <p:spPr>
          <a:xfrm>
            <a:off x="10430234" y="521099"/>
            <a:ext cx="1456966" cy="175614"/>
          </a:xfrm>
        </p:spPr>
        <p:txBody>
          <a:bodyPr/>
          <a:lstStyle/>
          <a:p>
            <a:r>
              <a:rPr lang="en-US" noProof="0" dirty="0"/>
              <a:t>Start</a:t>
            </a:r>
          </a:p>
        </p:txBody>
      </p:sp>
      <p:sp>
        <p:nvSpPr>
          <p:cNvPr id="204" name="Rectangle: Rounded Corners 6">
            <a:extLst>
              <a:ext uri="{FF2B5EF4-FFF2-40B4-BE49-F238E27FC236}">
                <a16:creationId xmlns:a16="http://schemas.microsoft.com/office/drawing/2014/main" id="{C04A5233-47AE-3AF3-D278-A9E865808470}"/>
              </a:ext>
              <a:ext uri="{C183D7F6-B498-43B3-948B-1728B52AA6E4}">
                <adec:decorative xmlns:adec="http://schemas.microsoft.com/office/drawing/2017/decorative" val="1"/>
              </a:ext>
            </a:extLst>
          </p:cNvPr>
          <p:cNvSpPr/>
          <p:nvPr/>
        </p:nvSpPr>
        <p:spPr bwMode="auto">
          <a:xfrm>
            <a:off x="576356" y="1134767"/>
            <a:ext cx="659514" cy="216000"/>
          </a:xfrm>
          <a:prstGeom prst="roundRect">
            <a:avLst>
              <a:gd name="adj" fmla="val 50000"/>
            </a:avLst>
          </a:prstGeom>
          <a:solidFill>
            <a:srgbClr val="FFA38B"/>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Benefits</a:t>
            </a:r>
          </a:p>
        </p:txBody>
      </p:sp>
      <p:sp>
        <p:nvSpPr>
          <p:cNvPr id="109" name="Benefit 1">
            <a:extLst>
              <a:ext uri="{FF2B5EF4-FFF2-40B4-BE49-F238E27FC236}">
                <a16:creationId xmlns:a16="http://schemas.microsoft.com/office/drawing/2014/main" id="{0AA5B793-0704-51C9-57F9-016E8D2DB6A1}"/>
              </a:ext>
              <a:ext uri="{C183D7F6-B498-43B3-948B-1728B52AA6E4}">
                <adec:decorative xmlns:adec="http://schemas.microsoft.com/office/drawing/2017/decorative" val="0"/>
              </a:ext>
            </a:extLst>
          </p:cNvPr>
          <p:cNvSpPr/>
          <p:nvPr/>
        </p:nvSpPr>
        <p:spPr bwMode="auto">
          <a:xfrm>
            <a:off x="1285388" y="1134767"/>
            <a:ext cx="1703112"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3391D"/>
                </a:solidFill>
                <a:effectLst/>
                <a:uLnTx/>
                <a:uFillTx/>
                <a:latin typeface="Segoe UI Semibold"/>
                <a:ea typeface="+mn-ea"/>
                <a:cs typeface="Segoe UI Semibold" panose="020B0702040204020203" pitchFamily="34" charset="0"/>
              </a:rPr>
              <a:t>Save 20 minutes per day</a:t>
            </a:r>
          </a:p>
        </p:txBody>
      </p:sp>
      <p:pic>
        <p:nvPicPr>
          <p:cNvPr id="110" name="Graphic 109">
            <a:extLst>
              <a:ext uri="{FF2B5EF4-FFF2-40B4-BE49-F238E27FC236}">
                <a16:creationId xmlns:a16="http://schemas.microsoft.com/office/drawing/2014/main" id="{B6B72FE9-E02C-235D-E00D-10541E5D17B4}"/>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28246" y="1170767"/>
            <a:ext cx="144000" cy="144000"/>
          </a:xfrm>
          <a:prstGeom prst="rect">
            <a:avLst/>
          </a:prstGeom>
        </p:spPr>
      </p:pic>
      <p:sp>
        <p:nvSpPr>
          <p:cNvPr id="111" name="Benefit 2">
            <a:extLst>
              <a:ext uri="{FF2B5EF4-FFF2-40B4-BE49-F238E27FC236}">
                <a16:creationId xmlns:a16="http://schemas.microsoft.com/office/drawing/2014/main" id="{4628E8A1-45D2-FE4A-26E2-0E5A82609052}"/>
              </a:ext>
              <a:ext uri="{C183D7F6-B498-43B3-948B-1728B52AA6E4}">
                <adec:decorative xmlns:adec="http://schemas.microsoft.com/office/drawing/2017/decorative" val="0"/>
              </a:ext>
            </a:extLst>
          </p:cNvPr>
          <p:cNvSpPr/>
          <p:nvPr/>
        </p:nvSpPr>
        <p:spPr bwMode="auto">
          <a:xfrm>
            <a:off x="3038018" y="1134767"/>
            <a:ext cx="1790096"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3391D"/>
                </a:solidFill>
                <a:effectLst/>
                <a:uLnTx/>
                <a:uFillTx/>
                <a:latin typeface="Segoe UI Semibold"/>
                <a:ea typeface="+mn-ea"/>
                <a:cs typeface="Segoe UI Semibold" panose="020B0702040204020203" pitchFamily="34" charset="0"/>
              </a:rPr>
              <a:t>Improve service</a:t>
            </a:r>
          </a:p>
        </p:txBody>
      </p:sp>
      <p:pic>
        <p:nvPicPr>
          <p:cNvPr id="112" name="Graphic 111">
            <a:extLst>
              <a:ext uri="{FF2B5EF4-FFF2-40B4-BE49-F238E27FC236}">
                <a16:creationId xmlns:a16="http://schemas.microsoft.com/office/drawing/2014/main" id="{A19A485C-EE7B-76F4-DD2D-6D5A1C1F60A8}"/>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80876" y="1170767"/>
            <a:ext cx="144000" cy="144000"/>
          </a:xfrm>
          <a:prstGeom prst="rect">
            <a:avLst/>
          </a:prstGeom>
        </p:spPr>
      </p:pic>
      <p:sp>
        <p:nvSpPr>
          <p:cNvPr id="113" name="Benefit 3">
            <a:extLst>
              <a:ext uri="{FF2B5EF4-FFF2-40B4-BE49-F238E27FC236}">
                <a16:creationId xmlns:a16="http://schemas.microsoft.com/office/drawing/2014/main" id="{B2D2D71B-C99C-2380-516E-A4B3B1E6F839}"/>
              </a:ext>
              <a:ext uri="{C183D7F6-B498-43B3-948B-1728B52AA6E4}">
                <adec:decorative xmlns:adec="http://schemas.microsoft.com/office/drawing/2017/decorative" val="0"/>
              </a:ext>
            </a:extLst>
          </p:cNvPr>
          <p:cNvSpPr/>
          <p:nvPr/>
        </p:nvSpPr>
        <p:spPr bwMode="auto">
          <a:xfrm>
            <a:off x="4877633" y="1134767"/>
            <a:ext cx="1970842"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3391D"/>
                </a:solidFill>
                <a:effectLst/>
                <a:uLnTx/>
                <a:uFillTx/>
                <a:latin typeface="Segoe UI Semibold"/>
                <a:ea typeface="+mn-ea"/>
                <a:cs typeface="Segoe UI Semibold" panose="020B0702040204020203" pitchFamily="34" charset="0"/>
              </a:rPr>
              <a:t>Improve product knowledge</a:t>
            </a:r>
          </a:p>
        </p:txBody>
      </p:sp>
      <p:pic>
        <p:nvPicPr>
          <p:cNvPr id="114" name="Graphic 113">
            <a:extLst>
              <a:ext uri="{FF2B5EF4-FFF2-40B4-BE49-F238E27FC236}">
                <a16:creationId xmlns:a16="http://schemas.microsoft.com/office/drawing/2014/main" id="{8EE50F28-59EC-4DCB-BC9B-58A2CC5BC8A2}"/>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20491" y="1170767"/>
            <a:ext cx="144000" cy="144000"/>
          </a:xfrm>
          <a:prstGeom prst="rect">
            <a:avLst/>
          </a:prstGeom>
        </p:spPr>
      </p:pic>
      <p:cxnSp>
        <p:nvCxnSpPr>
          <p:cNvPr id="9" name="Straight Connector 8">
            <a:extLst>
              <a:ext uri="{FF2B5EF4-FFF2-40B4-BE49-F238E27FC236}">
                <a16:creationId xmlns:a16="http://schemas.microsoft.com/office/drawing/2014/main" id="{94781358-4E10-0D84-8C7C-B3793A1BC518}"/>
              </a:ext>
              <a:ext uri="{C183D7F6-B498-43B3-948B-1728B52AA6E4}">
                <adec:decorative xmlns:adec="http://schemas.microsoft.com/office/drawing/2017/decorative" val="1"/>
              </a:ext>
            </a:extLst>
          </p:cNvPr>
          <p:cNvCxnSpPr/>
          <p:nvPr/>
        </p:nvCxnSpPr>
        <p:spPr>
          <a:xfrm>
            <a:off x="10357789"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B667571B-129E-D75C-9377-121C3807D98F}"/>
              </a:ext>
            </a:extLst>
          </p:cNvPr>
          <p:cNvSpPr txBox="1">
            <a:spLocks/>
          </p:cNvSpPr>
          <p:nvPr/>
        </p:nvSpPr>
        <p:spPr>
          <a:xfrm>
            <a:off x="10144741" y="1684338"/>
            <a:ext cx="1905001" cy="61555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C03BC4"/>
                </a:solidFill>
                <a:effectLst/>
                <a:uLnTx/>
                <a:uFillTx/>
                <a:latin typeface="Segoe UI Semibold"/>
                <a:ea typeface="+mn-ea"/>
                <a:cs typeface="+mn-cs"/>
              </a:rPr>
              <a:t>Da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C03BC4"/>
                </a:solidFill>
                <a:effectLst/>
                <a:uLnTx/>
                <a:uFillTx/>
                <a:latin typeface="Segoe UI"/>
                <a:ea typeface="+mn-ea"/>
                <a:cs typeface="Segoe UI" panose="020B0502040204020203" pitchFamily="34" charset="0"/>
              </a:rPr>
              <a:t>is a Store Associate</a:t>
            </a:r>
          </a:p>
        </p:txBody>
      </p:sp>
      <p:pic>
        <p:nvPicPr>
          <p:cNvPr id="25" name="Graphic 24">
            <a:extLst>
              <a:ext uri="{FF2B5EF4-FFF2-40B4-BE49-F238E27FC236}">
                <a16:creationId xmlns:a16="http://schemas.microsoft.com/office/drawing/2014/main" id="{2A5E62FD-67C5-3A4B-AFB0-58A27058B1A9}"/>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rot="10800000">
            <a:off x="10959812" y="2790969"/>
            <a:ext cx="274790" cy="274790"/>
          </a:xfrm>
          <a:prstGeom prst="rect">
            <a:avLst/>
          </a:prstGeom>
        </p:spPr>
      </p:pic>
      <p:sp>
        <p:nvSpPr>
          <p:cNvPr id="82" name="Step 1 Title">
            <a:extLst>
              <a:ext uri="{FF2B5EF4-FFF2-40B4-BE49-F238E27FC236}">
                <a16:creationId xmlns:a16="http://schemas.microsoft.com/office/drawing/2014/main" id="{C34F4ECD-60AB-2C57-F75C-774F803825F1}"/>
              </a:ext>
              <a:ext uri="{C183D7F6-B498-43B3-948B-1728B52AA6E4}">
                <adec:decorative xmlns:adec="http://schemas.microsoft.com/office/drawing/2017/decorative" val="0"/>
              </a:ext>
            </a:extLst>
          </p:cNvPr>
          <p:cNvSpPr>
            <a:spLocks noGrp="1"/>
          </p:cNvSpPr>
          <p:nvPr>
            <p:ph type="body" sz="quarter" idx="11"/>
          </p:nvPr>
        </p:nvSpPr>
        <p:spPr bwMode="auto">
          <a:xfrm>
            <a:off x="584200" y="1684713"/>
            <a:ext cx="2808000" cy="345600"/>
          </a:xfr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vert="horz" wrap="square" lIns="0" tIns="0" rIns="0" bIns="0" rtlCol="0" anchor="ctr" anchorCtr="0">
            <a:noAutofit/>
          </a:bodyPr>
          <a:lstStyle/>
          <a:p>
            <a:r>
              <a:rPr lang="en-US" noProof="0" dirty="0"/>
              <a:t>8:00 am – Find product information​</a:t>
            </a:r>
          </a:p>
        </p:txBody>
      </p:sp>
      <p:sp>
        <p:nvSpPr>
          <p:cNvPr id="93" name="Text Placeholder 92">
            <a:extLst>
              <a:ext uri="{FF2B5EF4-FFF2-40B4-BE49-F238E27FC236}">
                <a16:creationId xmlns:a16="http://schemas.microsoft.com/office/drawing/2014/main" id="{5D46F776-B366-8A12-A0B3-9EE7FB925F0A}"/>
              </a:ext>
            </a:extLst>
          </p:cNvPr>
          <p:cNvSpPr>
            <a:spLocks noGrp="1"/>
          </p:cNvSpPr>
          <p:nvPr>
            <p:ph type="body" sz="quarter" idx="18"/>
          </p:nvPr>
        </p:nvSpPr>
        <p:spPr>
          <a:xfrm>
            <a:off x="584200" y="2128838"/>
            <a:ext cx="2808288" cy="627062"/>
          </a:xfrm>
        </p:spPr>
        <p:txBody>
          <a:bodyPr/>
          <a:lstStyle/>
          <a:p>
            <a:r>
              <a:rPr lang="en-US" noProof="0" dirty="0"/>
              <a:t>A customer asks for more information about a product. Dan uses Copilot on his mobile device to find more information from the manufacturer's website. </a:t>
            </a:r>
          </a:p>
        </p:txBody>
      </p:sp>
      <p:grpSp>
        <p:nvGrpSpPr>
          <p:cNvPr id="3" name="Group 2">
            <a:extLst>
              <a:ext uri="{FF2B5EF4-FFF2-40B4-BE49-F238E27FC236}">
                <a16:creationId xmlns:a16="http://schemas.microsoft.com/office/drawing/2014/main" id="{B8E78AF3-FF15-AC9B-8A4A-42C035FF9747}"/>
              </a:ext>
            </a:extLst>
          </p:cNvPr>
          <p:cNvGrpSpPr/>
          <p:nvPr/>
        </p:nvGrpSpPr>
        <p:grpSpPr>
          <a:xfrm>
            <a:off x="584200" y="2850537"/>
            <a:ext cx="2351135" cy="360000"/>
            <a:chOff x="584200" y="2850537"/>
            <a:chExt cx="2351135" cy="360000"/>
          </a:xfrm>
        </p:grpSpPr>
        <p:pic>
          <p:nvPicPr>
            <p:cNvPr id="5" name="Picture 4" descr="Zip Co logo SVG free download, id: 101874 - Brandlogos.net">
              <a:hlinkClick r:id="rId11"/>
              <a:extLst>
                <a:ext uri="{FF2B5EF4-FFF2-40B4-BE49-F238E27FC236}">
                  <a16:creationId xmlns:a16="http://schemas.microsoft.com/office/drawing/2014/main" id="{007B6D4B-3AA5-B971-4441-64F07342DB1C}"/>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43278" t="-53646" r="-43278" b="-53646"/>
            <a:stretch/>
          </p:blipFill>
          <p:spPr bwMode="auto">
            <a:xfrm>
              <a:off x="584200" y="2850537"/>
              <a:ext cx="360000" cy="360000"/>
            </a:xfrm>
            <a:prstGeom prst="ellipse">
              <a:avLst/>
            </a:prstGeom>
            <a:solidFill>
              <a:srgbClr val="FFFFFF"/>
            </a:solidFill>
          </p:spPr>
        </p:pic>
        <p:sp>
          <p:nvSpPr>
            <p:cNvPr id="6" name="TextBox 5">
              <a:extLst>
                <a:ext uri="{FF2B5EF4-FFF2-40B4-BE49-F238E27FC236}">
                  <a16:creationId xmlns:a16="http://schemas.microsoft.com/office/drawing/2014/main" id="{00D3D34D-889F-4CF3-8930-8691D0D92B6E}"/>
                </a:ext>
                <a:ext uri="{C183D7F6-B498-43B3-948B-1728B52AA6E4}">
                  <adec:decorative xmlns:adec="http://schemas.microsoft.com/office/drawing/2017/decorative" val="0"/>
                </a:ext>
              </a:extLst>
            </p:cNvPr>
            <p:cNvSpPr txBox="1"/>
            <p:nvPr/>
          </p:nvSpPr>
          <p:spPr>
            <a:xfrm>
              <a:off x="1043151" y="2953593"/>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grpSp>
      <p:sp>
        <p:nvSpPr>
          <p:cNvPr id="94" name="Text Placeholder 93">
            <a:extLst>
              <a:ext uri="{FF2B5EF4-FFF2-40B4-BE49-F238E27FC236}">
                <a16:creationId xmlns:a16="http://schemas.microsoft.com/office/drawing/2014/main" id="{0AA01703-2974-4CAD-220B-0BC614A29AA9}"/>
              </a:ext>
            </a:extLst>
          </p:cNvPr>
          <p:cNvSpPr>
            <a:spLocks noGrp="1"/>
          </p:cNvSpPr>
          <p:nvPr>
            <p:ph type="body" sz="quarter" idx="21"/>
          </p:nvPr>
        </p:nvSpPr>
        <p:spPr>
          <a:xfrm>
            <a:off x="584200" y="3304510"/>
            <a:ext cx="2808000" cy="626701"/>
          </a:xfrm>
        </p:spPr>
        <p:txBody>
          <a:bodyPr/>
          <a:lstStyle/>
          <a:p>
            <a:r>
              <a:rPr lang="en-US" noProof="0" dirty="0"/>
              <a:t>Example Prompt: Please provide detail specs for [X] product.</a:t>
            </a:r>
          </a:p>
        </p:txBody>
      </p:sp>
      <p:sp>
        <p:nvSpPr>
          <p:cNvPr id="84" name="Step 2 Title">
            <a:extLst>
              <a:ext uri="{FF2B5EF4-FFF2-40B4-BE49-F238E27FC236}">
                <a16:creationId xmlns:a16="http://schemas.microsoft.com/office/drawing/2014/main" id="{EA043882-7897-6976-F358-996B44FE4127}"/>
              </a:ext>
              <a:ext uri="{C183D7F6-B498-43B3-948B-1728B52AA6E4}">
                <adec:decorative xmlns:adec="http://schemas.microsoft.com/office/drawing/2017/decorative" val="0"/>
              </a:ext>
            </a:extLst>
          </p:cNvPr>
          <p:cNvSpPr>
            <a:spLocks noGrp="1"/>
          </p:cNvSpPr>
          <p:nvPr>
            <p:ph type="body" sz="quarter" idx="22"/>
          </p:nvPr>
        </p:nvSpPr>
        <p:spPr bwMode="auto">
          <a:xfrm>
            <a:off x="3776898" y="1684713"/>
            <a:ext cx="2808000" cy="345600"/>
          </a:xfr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vert="horz" wrap="square" lIns="0" tIns="0" rIns="0" bIns="0" rtlCol="0" anchor="ctr" anchorCtr="0">
            <a:noAutofit/>
          </a:bodyPr>
          <a:lstStyle/>
          <a:p>
            <a:r>
              <a:rPr lang="en-US" noProof="0" dirty="0"/>
              <a:t>9:30 am – Find a policy</a:t>
            </a:r>
          </a:p>
        </p:txBody>
      </p:sp>
      <p:sp>
        <p:nvSpPr>
          <p:cNvPr id="95" name="Text Placeholder 94">
            <a:extLst>
              <a:ext uri="{FF2B5EF4-FFF2-40B4-BE49-F238E27FC236}">
                <a16:creationId xmlns:a16="http://schemas.microsoft.com/office/drawing/2014/main" id="{AF55C12F-F122-7231-FFCC-356E0C813FE1}"/>
              </a:ext>
            </a:extLst>
          </p:cNvPr>
          <p:cNvSpPr>
            <a:spLocks noGrp="1"/>
          </p:cNvSpPr>
          <p:nvPr>
            <p:ph type="body" sz="quarter" idx="23"/>
          </p:nvPr>
        </p:nvSpPr>
        <p:spPr>
          <a:xfrm>
            <a:off x="3776663" y="2128838"/>
            <a:ext cx="2808287" cy="627062"/>
          </a:xfrm>
        </p:spPr>
        <p:txBody>
          <a:bodyPr/>
          <a:lstStyle/>
          <a:p>
            <a:r>
              <a:rPr lang="en-US" noProof="0" dirty="0"/>
              <a:t>While Dan is working at the register a customer asks about the return policy for a specific item. Dan uses Copilot to find the policy on the website.</a:t>
            </a:r>
          </a:p>
        </p:txBody>
      </p:sp>
      <p:grpSp>
        <p:nvGrpSpPr>
          <p:cNvPr id="4" name="Group 3">
            <a:extLst>
              <a:ext uri="{FF2B5EF4-FFF2-40B4-BE49-F238E27FC236}">
                <a16:creationId xmlns:a16="http://schemas.microsoft.com/office/drawing/2014/main" id="{35020432-60CF-A18D-8254-95D0F5F9B02B}"/>
              </a:ext>
            </a:extLst>
          </p:cNvPr>
          <p:cNvGrpSpPr/>
          <p:nvPr/>
        </p:nvGrpSpPr>
        <p:grpSpPr>
          <a:xfrm>
            <a:off x="3776663" y="2850538"/>
            <a:ext cx="2351135" cy="360000"/>
            <a:chOff x="3776663" y="2850538"/>
            <a:chExt cx="2351135" cy="360000"/>
          </a:xfrm>
        </p:grpSpPr>
        <p:sp>
          <p:nvSpPr>
            <p:cNvPr id="14" name="TextBox 13">
              <a:extLst>
                <a:ext uri="{FF2B5EF4-FFF2-40B4-BE49-F238E27FC236}">
                  <a16:creationId xmlns:a16="http://schemas.microsoft.com/office/drawing/2014/main" id="{B70AB861-B8AD-B67A-13BB-B4F992828D62}"/>
                </a:ext>
                <a:ext uri="{C183D7F6-B498-43B3-948B-1728B52AA6E4}">
                  <adec:decorative xmlns:adec="http://schemas.microsoft.com/office/drawing/2017/decorative" val="0"/>
                </a:ext>
              </a:extLst>
            </p:cNvPr>
            <p:cNvSpPr txBox="1"/>
            <p:nvPr/>
          </p:nvSpPr>
          <p:spPr>
            <a:xfrm>
              <a:off x="4235614" y="2953595"/>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3" name="Picture 12" descr="Zip Co logo SVG free download, id: 101874 - Brandlogos.net">
              <a:hlinkClick r:id="rId11"/>
              <a:extLst>
                <a:ext uri="{FF2B5EF4-FFF2-40B4-BE49-F238E27FC236}">
                  <a16:creationId xmlns:a16="http://schemas.microsoft.com/office/drawing/2014/main" id="{F9AB563E-E384-059A-1D7D-B1A271CBB3FB}"/>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43278" t="-53646" r="-43278" b="-53646"/>
            <a:stretch/>
          </p:blipFill>
          <p:spPr bwMode="auto">
            <a:xfrm>
              <a:off x="3776663" y="2850538"/>
              <a:ext cx="360000" cy="360000"/>
            </a:xfrm>
            <a:prstGeom prst="ellipse">
              <a:avLst/>
            </a:prstGeom>
            <a:solidFill>
              <a:srgbClr val="FFFFFF"/>
            </a:solidFill>
          </p:spPr>
        </p:pic>
      </p:grpSp>
      <p:sp>
        <p:nvSpPr>
          <p:cNvPr id="96" name="Text Placeholder 95">
            <a:extLst>
              <a:ext uri="{FF2B5EF4-FFF2-40B4-BE49-F238E27FC236}">
                <a16:creationId xmlns:a16="http://schemas.microsoft.com/office/drawing/2014/main" id="{32BBCC63-554E-18F0-710B-DDACFC6D83AE}"/>
              </a:ext>
            </a:extLst>
          </p:cNvPr>
          <p:cNvSpPr>
            <a:spLocks noGrp="1"/>
          </p:cNvSpPr>
          <p:nvPr>
            <p:ph type="body" sz="quarter" idx="24"/>
          </p:nvPr>
        </p:nvSpPr>
        <p:spPr>
          <a:xfrm>
            <a:off x="3719286" y="3304510"/>
            <a:ext cx="2808000" cy="626701"/>
          </a:xfrm>
        </p:spPr>
        <p:txBody>
          <a:bodyPr/>
          <a:lstStyle/>
          <a:p>
            <a:r>
              <a:rPr lang="en-US" noProof="0" dirty="0"/>
              <a:t>Example Prompt: What is the return policy for [X] items.</a:t>
            </a:r>
          </a:p>
        </p:txBody>
      </p:sp>
      <p:sp>
        <p:nvSpPr>
          <p:cNvPr id="83" name="Step 3 Title">
            <a:extLst>
              <a:ext uri="{FF2B5EF4-FFF2-40B4-BE49-F238E27FC236}">
                <a16:creationId xmlns:a16="http://schemas.microsoft.com/office/drawing/2014/main" id="{9CBC7D70-1328-364D-9D3D-86CCA469F86C}"/>
              </a:ext>
              <a:ext uri="{C183D7F6-B498-43B3-948B-1728B52AA6E4}">
                <adec:decorative xmlns:adec="http://schemas.microsoft.com/office/drawing/2017/decorative" val="0"/>
              </a:ext>
            </a:extLst>
          </p:cNvPr>
          <p:cNvSpPr>
            <a:spLocks noGrp="1"/>
          </p:cNvSpPr>
          <p:nvPr>
            <p:ph type="body" sz="quarter" idx="25"/>
          </p:nvPr>
        </p:nvSpPr>
        <p:spPr bwMode="auto">
          <a:xfrm>
            <a:off x="6969595" y="1684713"/>
            <a:ext cx="2808000" cy="345600"/>
          </a:xfr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vert="horz" wrap="square" lIns="0" tIns="0" rIns="0" bIns="0" rtlCol="0" anchor="ctr" anchorCtr="0">
            <a:noAutofit/>
          </a:bodyPr>
          <a:lstStyle/>
          <a:p>
            <a:r>
              <a:rPr lang="en-US" noProof="0" dirty="0"/>
              <a:t>10:00 am – Find a location</a:t>
            </a:r>
          </a:p>
        </p:txBody>
      </p:sp>
      <p:sp>
        <p:nvSpPr>
          <p:cNvPr id="98" name="Text Placeholder 97">
            <a:extLst>
              <a:ext uri="{FF2B5EF4-FFF2-40B4-BE49-F238E27FC236}">
                <a16:creationId xmlns:a16="http://schemas.microsoft.com/office/drawing/2014/main" id="{C176A890-E818-B684-A8EF-E4802A0BBC7B}"/>
              </a:ext>
            </a:extLst>
          </p:cNvPr>
          <p:cNvSpPr>
            <a:spLocks noGrp="1"/>
          </p:cNvSpPr>
          <p:nvPr>
            <p:ph type="body" sz="quarter" idx="26"/>
          </p:nvPr>
        </p:nvSpPr>
        <p:spPr>
          <a:xfrm>
            <a:off x="6969595" y="2128438"/>
            <a:ext cx="2808000" cy="626701"/>
          </a:xfrm>
        </p:spPr>
        <p:txBody>
          <a:bodyPr/>
          <a:lstStyle/>
          <a:p>
            <a:r>
              <a:rPr lang="en-US" noProof="0" dirty="0"/>
              <a:t>A customer says they are travelling the next week and wants to know the location of a store in the city where they are going. Dan asks Copilot for store locations near the customer’s destination.</a:t>
            </a:r>
          </a:p>
        </p:txBody>
      </p:sp>
      <p:grpSp>
        <p:nvGrpSpPr>
          <p:cNvPr id="21" name="Group 20">
            <a:extLst>
              <a:ext uri="{FF2B5EF4-FFF2-40B4-BE49-F238E27FC236}">
                <a16:creationId xmlns:a16="http://schemas.microsoft.com/office/drawing/2014/main" id="{C4A09F1E-86F3-F027-AA0F-2BFC9237413C}"/>
              </a:ext>
            </a:extLst>
          </p:cNvPr>
          <p:cNvGrpSpPr/>
          <p:nvPr/>
        </p:nvGrpSpPr>
        <p:grpSpPr>
          <a:xfrm>
            <a:off x="6969125" y="2850537"/>
            <a:ext cx="2351135" cy="360000"/>
            <a:chOff x="6969125" y="2850537"/>
            <a:chExt cx="2351135" cy="360000"/>
          </a:xfrm>
        </p:grpSpPr>
        <p:sp>
          <p:nvSpPr>
            <p:cNvPr id="10" name="TextBox 9">
              <a:extLst>
                <a:ext uri="{FF2B5EF4-FFF2-40B4-BE49-F238E27FC236}">
                  <a16:creationId xmlns:a16="http://schemas.microsoft.com/office/drawing/2014/main" id="{7DA8DB36-5BF6-14B2-187B-D372EFD03473}"/>
                </a:ext>
                <a:ext uri="{C183D7F6-B498-43B3-948B-1728B52AA6E4}">
                  <adec:decorative xmlns:adec="http://schemas.microsoft.com/office/drawing/2017/decorative" val="0"/>
                </a:ext>
              </a:extLst>
            </p:cNvPr>
            <p:cNvSpPr txBox="1"/>
            <p:nvPr/>
          </p:nvSpPr>
          <p:spPr>
            <a:xfrm>
              <a:off x="7428076" y="2953593"/>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7" name="Picture 6" descr="Zip Co logo SVG free download, id: 101874 - Brandlogos.net">
              <a:hlinkClick r:id="rId11"/>
              <a:extLst>
                <a:ext uri="{FF2B5EF4-FFF2-40B4-BE49-F238E27FC236}">
                  <a16:creationId xmlns:a16="http://schemas.microsoft.com/office/drawing/2014/main" id="{1D7EEF6A-8F5F-CAFB-194E-E34A5ECF2D9D}"/>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43278" t="-53646" r="-43278" b="-53646"/>
            <a:stretch/>
          </p:blipFill>
          <p:spPr bwMode="auto">
            <a:xfrm>
              <a:off x="6969125" y="2850537"/>
              <a:ext cx="360000" cy="360000"/>
            </a:xfrm>
            <a:prstGeom prst="ellipse">
              <a:avLst/>
            </a:prstGeom>
            <a:solidFill>
              <a:srgbClr val="FFFFFF"/>
            </a:solidFill>
          </p:spPr>
        </p:pic>
      </p:grpSp>
      <p:sp>
        <p:nvSpPr>
          <p:cNvPr id="99" name="Text Placeholder 98">
            <a:extLst>
              <a:ext uri="{FF2B5EF4-FFF2-40B4-BE49-F238E27FC236}">
                <a16:creationId xmlns:a16="http://schemas.microsoft.com/office/drawing/2014/main" id="{9AA14CF9-D34E-A60F-D16A-F24607620080}"/>
              </a:ext>
            </a:extLst>
          </p:cNvPr>
          <p:cNvSpPr>
            <a:spLocks noGrp="1"/>
          </p:cNvSpPr>
          <p:nvPr>
            <p:ph type="body" sz="quarter" idx="27"/>
          </p:nvPr>
        </p:nvSpPr>
        <p:spPr>
          <a:xfrm>
            <a:off x="6969595" y="3304510"/>
            <a:ext cx="2808000" cy="626701"/>
          </a:xfrm>
        </p:spPr>
        <p:txBody>
          <a:bodyPr/>
          <a:lstStyle/>
          <a:p>
            <a:r>
              <a:rPr lang="en-US" noProof="0" dirty="0"/>
              <a:t>Example Prompt: Can you tell me store locations near the [X] hotel in [X] city. Also let me know the store hours.</a:t>
            </a:r>
          </a:p>
        </p:txBody>
      </p:sp>
      <p:sp>
        <p:nvSpPr>
          <p:cNvPr id="88" name="Step 4 Title">
            <a:extLst>
              <a:ext uri="{FF2B5EF4-FFF2-40B4-BE49-F238E27FC236}">
                <a16:creationId xmlns:a16="http://schemas.microsoft.com/office/drawing/2014/main" id="{942F11D3-0BBE-01EE-FD31-EA9D53D59D09}"/>
              </a:ext>
              <a:ext uri="{C183D7F6-B498-43B3-948B-1728B52AA6E4}">
                <adec:decorative xmlns:adec="http://schemas.microsoft.com/office/drawing/2017/decorative" val="0"/>
              </a:ext>
            </a:extLst>
          </p:cNvPr>
          <p:cNvSpPr>
            <a:spLocks noGrp="1"/>
          </p:cNvSpPr>
          <p:nvPr>
            <p:ph type="body" sz="quarter" idx="34"/>
          </p:nvPr>
        </p:nvSpPr>
        <p:spPr bwMode="auto">
          <a:xfrm>
            <a:off x="6969595" y="4137995"/>
            <a:ext cx="2808000" cy="345600"/>
          </a:xfr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vert="horz" wrap="square" lIns="0" tIns="0" rIns="0" bIns="0" rtlCol="0" anchor="ctr" anchorCtr="0">
            <a:noAutofit/>
          </a:bodyPr>
          <a:lstStyle/>
          <a:p>
            <a:r>
              <a:rPr lang="en-US" noProof="0" dirty="0"/>
              <a:t>1:00 pm – Get a recommendation</a:t>
            </a:r>
          </a:p>
        </p:txBody>
      </p:sp>
      <p:sp>
        <p:nvSpPr>
          <p:cNvPr id="105" name="Text Placeholder 104">
            <a:extLst>
              <a:ext uri="{FF2B5EF4-FFF2-40B4-BE49-F238E27FC236}">
                <a16:creationId xmlns:a16="http://schemas.microsoft.com/office/drawing/2014/main" id="{1C42FC48-E4C2-DEF3-38D9-CB31FE37DCB0}"/>
              </a:ext>
            </a:extLst>
          </p:cNvPr>
          <p:cNvSpPr>
            <a:spLocks noGrp="1"/>
          </p:cNvSpPr>
          <p:nvPr>
            <p:ph type="body" sz="quarter" idx="35"/>
          </p:nvPr>
        </p:nvSpPr>
        <p:spPr>
          <a:xfrm>
            <a:off x="6969125" y="4584700"/>
            <a:ext cx="2808288" cy="627063"/>
          </a:xfrm>
        </p:spPr>
        <p:txBody>
          <a:bodyPr/>
          <a:lstStyle/>
          <a:p>
            <a:r>
              <a:rPr lang="en-US" noProof="0" dirty="0"/>
              <a:t>A customer asks Dan for recommendations for a present for their teenage daughter. Dan turns to Copilot for help.</a:t>
            </a:r>
          </a:p>
        </p:txBody>
      </p:sp>
      <p:grpSp>
        <p:nvGrpSpPr>
          <p:cNvPr id="24" name="Group 23">
            <a:extLst>
              <a:ext uri="{FF2B5EF4-FFF2-40B4-BE49-F238E27FC236}">
                <a16:creationId xmlns:a16="http://schemas.microsoft.com/office/drawing/2014/main" id="{E2444EBA-B3E9-9D57-05F7-256106574105}"/>
              </a:ext>
            </a:extLst>
          </p:cNvPr>
          <p:cNvGrpSpPr/>
          <p:nvPr/>
        </p:nvGrpSpPr>
        <p:grpSpPr>
          <a:xfrm>
            <a:off x="6969125" y="5266713"/>
            <a:ext cx="2351605" cy="360000"/>
            <a:chOff x="6969125" y="5266713"/>
            <a:chExt cx="2351605" cy="360000"/>
          </a:xfrm>
        </p:grpSpPr>
        <p:sp>
          <p:nvSpPr>
            <p:cNvPr id="15" name="TextBox 14">
              <a:extLst>
                <a:ext uri="{FF2B5EF4-FFF2-40B4-BE49-F238E27FC236}">
                  <a16:creationId xmlns:a16="http://schemas.microsoft.com/office/drawing/2014/main" id="{1B67112F-F058-2DDF-E7B3-6856CCA50E0B}"/>
                </a:ext>
                <a:ext uri="{C183D7F6-B498-43B3-948B-1728B52AA6E4}">
                  <adec:decorative xmlns:adec="http://schemas.microsoft.com/office/drawing/2017/decorative" val="0"/>
                </a:ext>
              </a:extLst>
            </p:cNvPr>
            <p:cNvSpPr txBox="1"/>
            <p:nvPr/>
          </p:nvSpPr>
          <p:spPr>
            <a:xfrm>
              <a:off x="7428546" y="5369769"/>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Copilot Chat</a:t>
              </a:r>
              <a:r>
                <a:rPr kumimoji="0" lang="en-US" sz="1000" b="0" i="0" u="none" strike="noStrike" kern="1200" cap="none" spc="0" normalizeH="0" baseline="30000" noProof="0">
                  <a:ln>
                    <a:noFill/>
                  </a:ln>
                  <a:solidFill>
                    <a:prstClr val="black"/>
                  </a:solidFill>
                  <a:effectLst/>
                  <a:uLnTx/>
                  <a:uFillTx/>
                  <a:latin typeface="Segoe UI Semibold"/>
                  <a:ea typeface="+mn-ea"/>
                  <a:cs typeface="+mn-cs"/>
                </a:rPr>
                <a:t>1</a:t>
              </a:r>
            </a:p>
          </p:txBody>
        </p:sp>
        <p:pic>
          <p:nvPicPr>
            <p:cNvPr id="18" name="Picture 17" descr="Zip Co logo SVG free download, id: 101874 - Brandlogos.net">
              <a:hlinkClick r:id="rId11"/>
              <a:extLst>
                <a:ext uri="{FF2B5EF4-FFF2-40B4-BE49-F238E27FC236}">
                  <a16:creationId xmlns:a16="http://schemas.microsoft.com/office/drawing/2014/main" id="{372BB6FC-ACB1-C191-43CA-1DC5D97ECF37}"/>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43278" t="-53646" r="-43278" b="-53646"/>
            <a:stretch/>
          </p:blipFill>
          <p:spPr bwMode="auto">
            <a:xfrm>
              <a:off x="6969125" y="5266713"/>
              <a:ext cx="360000" cy="360000"/>
            </a:xfrm>
            <a:prstGeom prst="ellipse">
              <a:avLst/>
            </a:prstGeom>
            <a:solidFill>
              <a:srgbClr val="FFFFFF"/>
            </a:solidFill>
          </p:spPr>
        </p:pic>
      </p:grpSp>
      <p:sp>
        <p:nvSpPr>
          <p:cNvPr id="106" name="Text Placeholder 105">
            <a:extLst>
              <a:ext uri="{FF2B5EF4-FFF2-40B4-BE49-F238E27FC236}">
                <a16:creationId xmlns:a16="http://schemas.microsoft.com/office/drawing/2014/main" id="{66415306-704C-3C51-53BD-3F96D70C8C75}"/>
              </a:ext>
            </a:extLst>
          </p:cNvPr>
          <p:cNvSpPr>
            <a:spLocks noGrp="1"/>
          </p:cNvSpPr>
          <p:nvPr>
            <p:ph type="body" sz="quarter" idx="36"/>
          </p:nvPr>
        </p:nvSpPr>
        <p:spPr>
          <a:xfrm>
            <a:off x="6969595" y="5681038"/>
            <a:ext cx="2808000" cy="626701"/>
          </a:xfrm>
        </p:spPr>
        <p:txBody>
          <a:bodyPr/>
          <a:lstStyle/>
          <a:p>
            <a:r>
              <a:rPr lang="en-US" noProof="0" dirty="0"/>
              <a:t>Example Prompt: Recommend some items that a teenage girl would like from our website.</a:t>
            </a:r>
          </a:p>
        </p:txBody>
      </p:sp>
      <p:sp>
        <p:nvSpPr>
          <p:cNvPr id="86" name="Step 5 Title">
            <a:extLst>
              <a:ext uri="{FF2B5EF4-FFF2-40B4-BE49-F238E27FC236}">
                <a16:creationId xmlns:a16="http://schemas.microsoft.com/office/drawing/2014/main" id="{F22B4CFD-5188-2BC8-0147-BACA28B6E85C}"/>
              </a:ext>
              <a:ext uri="{C183D7F6-B498-43B3-948B-1728B52AA6E4}">
                <adec:decorative xmlns:adec="http://schemas.microsoft.com/office/drawing/2017/decorative" val="0"/>
              </a:ext>
            </a:extLst>
          </p:cNvPr>
          <p:cNvSpPr>
            <a:spLocks noGrp="1"/>
          </p:cNvSpPr>
          <p:nvPr>
            <p:ph type="body" sz="quarter" idx="31"/>
          </p:nvPr>
        </p:nvSpPr>
        <p:spPr bwMode="auto">
          <a:xfrm>
            <a:off x="3776898" y="4137995"/>
            <a:ext cx="2808000" cy="345600"/>
          </a:xfr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vert="horz" wrap="square" lIns="0" tIns="0" rIns="0" bIns="0" rtlCol="0" anchor="ctr" anchorCtr="0">
            <a:noAutofit/>
          </a:bodyPr>
          <a:lstStyle/>
          <a:p>
            <a:r>
              <a:rPr lang="en-US" noProof="0" dirty="0"/>
              <a:t>2:00 pm – Get display ideas</a:t>
            </a:r>
          </a:p>
        </p:txBody>
      </p:sp>
      <p:sp>
        <p:nvSpPr>
          <p:cNvPr id="102" name="Text Placeholder 101">
            <a:extLst>
              <a:ext uri="{FF2B5EF4-FFF2-40B4-BE49-F238E27FC236}">
                <a16:creationId xmlns:a16="http://schemas.microsoft.com/office/drawing/2014/main" id="{41B5FAF1-F892-9A5D-B864-137BD4DAC987}"/>
              </a:ext>
            </a:extLst>
          </p:cNvPr>
          <p:cNvSpPr>
            <a:spLocks noGrp="1"/>
          </p:cNvSpPr>
          <p:nvPr>
            <p:ph type="body" sz="quarter" idx="32"/>
          </p:nvPr>
        </p:nvSpPr>
        <p:spPr>
          <a:xfrm>
            <a:off x="3776898" y="4584616"/>
            <a:ext cx="2808000" cy="626701"/>
          </a:xfrm>
        </p:spPr>
        <p:txBody>
          <a:bodyPr/>
          <a:lstStyle/>
          <a:p>
            <a:r>
              <a:rPr lang="en-US" noProof="0" dirty="0"/>
              <a:t>Dan was asked to set up a store display based on a planogram. He asks Copilot for ideas on the best way to proceed.</a:t>
            </a:r>
          </a:p>
        </p:txBody>
      </p:sp>
      <p:grpSp>
        <p:nvGrpSpPr>
          <p:cNvPr id="23" name="Group 22">
            <a:extLst>
              <a:ext uri="{FF2B5EF4-FFF2-40B4-BE49-F238E27FC236}">
                <a16:creationId xmlns:a16="http://schemas.microsoft.com/office/drawing/2014/main" id="{0F71C906-188E-B6F4-730D-8F1795C6FEBD}"/>
              </a:ext>
            </a:extLst>
          </p:cNvPr>
          <p:cNvGrpSpPr/>
          <p:nvPr/>
        </p:nvGrpSpPr>
        <p:grpSpPr>
          <a:xfrm>
            <a:off x="3776663" y="5266713"/>
            <a:ext cx="2255978" cy="360000"/>
            <a:chOff x="3776663" y="5266713"/>
            <a:chExt cx="2255978" cy="360000"/>
          </a:xfrm>
        </p:grpSpPr>
        <p:sp>
          <p:nvSpPr>
            <p:cNvPr id="16" name="TextBox 15">
              <a:extLst>
                <a:ext uri="{FF2B5EF4-FFF2-40B4-BE49-F238E27FC236}">
                  <a16:creationId xmlns:a16="http://schemas.microsoft.com/office/drawing/2014/main" id="{EF232CB5-D411-F425-FF23-4800FC41FA3E}"/>
                </a:ext>
                <a:ext uri="{C183D7F6-B498-43B3-948B-1728B52AA6E4}">
                  <adec:decorative xmlns:adec="http://schemas.microsoft.com/office/drawing/2017/decorative" val="0"/>
                </a:ext>
              </a:extLst>
            </p:cNvPr>
            <p:cNvSpPr txBox="1"/>
            <p:nvPr/>
          </p:nvSpPr>
          <p:spPr>
            <a:xfrm>
              <a:off x="4235849" y="5368974"/>
              <a:ext cx="1796792"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7" name="Picture 16" descr="Zip Co logo SVG free download, id: 101874 - Brandlogos.net">
              <a:hlinkClick r:id="rId11"/>
              <a:extLst>
                <a:ext uri="{FF2B5EF4-FFF2-40B4-BE49-F238E27FC236}">
                  <a16:creationId xmlns:a16="http://schemas.microsoft.com/office/drawing/2014/main" id="{B932B04F-AE5A-2C9C-00E1-840E866D4E95}"/>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43278" t="-53646" r="-43278" b="-53646"/>
            <a:stretch/>
          </p:blipFill>
          <p:spPr bwMode="auto">
            <a:xfrm>
              <a:off x="3776663" y="5266713"/>
              <a:ext cx="360000" cy="360000"/>
            </a:xfrm>
            <a:prstGeom prst="ellipse">
              <a:avLst/>
            </a:prstGeom>
            <a:solidFill>
              <a:srgbClr val="FFFFFF"/>
            </a:solidFill>
          </p:spPr>
        </p:pic>
      </p:grpSp>
      <p:sp>
        <p:nvSpPr>
          <p:cNvPr id="104" name="Text Placeholder 103">
            <a:extLst>
              <a:ext uri="{FF2B5EF4-FFF2-40B4-BE49-F238E27FC236}">
                <a16:creationId xmlns:a16="http://schemas.microsoft.com/office/drawing/2014/main" id="{94ACDD39-110F-1F19-10BB-F027413CD892}"/>
              </a:ext>
            </a:extLst>
          </p:cNvPr>
          <p:cNvSpPr>
            <a:spLocks noGrp="1"/>
          </p:cNvSpPr>
          <p:nvPr>
            <p:ph type="body" sz="quarter" idx="33"/>
          </p:nvPr>
        </p:nvSpPr>
        <p:spPr>
          <a:xfrm>
            <a:off x="3719286" y="5681038"/>
            <a:ext cx="2808000" cy="626701"/>
          </a:xfrm>
        </p:spPr>
        <p:txBody>
          <a:bodyPr/>
          <a:lstStyle/>
          <a:p>
            <a:r>
              <a:rPr lang="en-US" noProof="0" dirty="0"/>
              <a:t>Example Prompt: How should I ensure displays are set up according to the [planogram.pdf] for effective merchandising and space optimization?</a:t>
            </a:r>
          </a:p>
        </p:txBody>
      </p:sp>
      <p:sp>
        <p:nvSpPr>
          <p:cNvPr id="85" name="Step 6 TItle">
            <a:extLst>
              <a:ext uri="{FF2B5EF4-FFF2-40B4-BE49-F238E27FC236}">
                <a16:creationId xmlns:a16="http://schemas.microsoft.com/office/drawing/2014/main" id="{71CD06ED-B190-0114-4846-BE8B1D122E43}"/>
              </a:ext>
              <a:ext uri="{C183D7F6-B498-43B3-948B-1728B52AA6E4}">
                <adec:decorative xmlns:adec="http://schemas.microsoft.com/office/drawing/2017/decorative" val="0"/>
              </a:ext>
            </a:extLst>
          </p:cNvPr>
          <p:cNvSpPr>
            <a:spLocks noGrp="1"/>
          </p:cNvSpPr>
          <p:nvPr>
            <p:ph type="body" sz="quarter" idx="28"/>
          </p:nvPr>
        </p:nvSpPr>
        <p:spPr bwMode="auto">
          <a:xfrm>
            <a:off x="584200" y="4137995"/>
            <a:ext cx="2808000" cy="345600"/>
          </a:xfr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vert="horz" wrap="square" lIns="0" tIns="0" rIns="0" bIns="0" rtlCol="0" anchor="ctr" anchorCtr="0">
            <a:noAutofit/>
          </a:bodyPr>
          <a:lstStyle/>
          <a:p>
            <a:r>
              <a:rPr lang="en-US" noProof="0" dirty="0"/>
              <a:t>4:00 pm – Draft shift summary</a:t>
            </a:r>
          </a:p>
        </p:txBody>
      </p:sp>
      <p:sp>
        <p:nvSpPr>
          <p:cNvPr id="100" name="Text Placeholder 99">
            <a:extLst>
              <a:ext uri="{FF2B5EF4-FFF2-40B4-BE49-F238E27FC236}">
                <a16:creationId xmlns:a16="http://schemas.microsoft.com/office/drawing/2014/main" id="{B2905C43-F17C-BAA9-1714-435B1E1D01B1}"/>
              </a:ext>
            </a:extLst>
          </p:cNvPr>
          <p:cNvSpPr>
            <a:spLocks noGrp="1"/>
          </p:cNvSpPr>
          <p:nvPr>
            <p:ph type="body" sz="quarter" idx="29"/>
          </p:nvPr>
        </p:nvSpPr>
        <p:spPr>
          <a:xfrm>
            <a:off x="584200" y="4584616"/>
            <a:ext cx="2808000" cy="626701"/>
          </a:xfrm>
        </p:spPr>
        <p:txBody>
          <a:bodyPr/>
          <a:lstStyle/>
          <a:p>
            <a:r>
              <a:rPr lang="en-US" noProof="0" dirty="0"/>
              <a:t>Dan needs to draft a shift summary. He provides a few brief details of what happened on the shift and ask Copilot to turn it into a shift report.</a:t>
            </a:r>
          </a:p>
        </p:txBody>
      </p:sp>
      <p:grpSp>
        <p:nvGrpSpPr>
          <p:cNvPr id="22" name="Group 21">
            <a:extLst>
              <a:ext uri="{FF2B5EF4-FFF2-40B4-BE49-F238E27FC236}">
                <a16:creationId xmlns:a16="http://schemas.microsoft.com/office/drawing/2014/main" id="{21355A19-277C-58F8-C917-0AEB5797B001}"/>
              </a:ext>
            </a:extLst>
          </p:cNvPr>
          <p:cNvGrpSpPr/>
          <p:nvPr/>
        </p:nvGrpSpPr>
        <p:grpSpPr>
          <a:xfrm>
            <a:off x="584200" y="5266713"/>
            <a:ext cx="2351135" cy="360000"/>
            <a:chOff x="584200" y="5266713"/>
            <a:chExt cx="2351135" cy="360000"/>
          </a:xfrm>
        </p:grpSpPr>
        <p:sp>
          <p:nvSpPr>
            <p:cNvPr id="12" name="TextBox 11">
              <a:extLst>
                <a:ext uri="{FF2B5EF4-FFF2-40B4-BE49-F238E27FC236}">
                  <a16:creationId xmlns:a16="http://schemas.microsoft.com/office/drawing/2014/main" id="{9CDA1975-5E4E-3428-A798-917A46C9BB84}"/>
                </a:ext>
                <a:ext uri="{C183D7F6-B498-43B3-948B-1728B52AA6E4}">
                  <adec:decorative xmlns:adec="http://schemas.microsoft.com/office/drawing/2017/decorative" val="0"/>
                </a:ext>
              </a:extLst>
            </p:cNvPr>
            <p:cNvSpPr txBox="1"/>
            <p:nvPr/>
          </p:nvSpPr>
          <p:spPr>
            <a:xfrm>
              <a:off x="1043151" y="5369769"/>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1" name="Picture 10" descr="Zip Co logo SVG free download, id: 101874 - Brandlogos.net">
              <a:hlinkClick r:id="rId11"/>
              <a:extLst>
                <a:ext uri="{FF2B5EF4-FFF2-40B4-BE49-F238E27FC236}">
                  <a16:creationId xmlns:a16="http://schemas.microsoft.com/office/drawing/2014/main" id="{54163FF4-9A78-219F-226E-FE9F28A4D43E}"/>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43278" t="-53646" r="-43278" b="-53646"/>
            <a:stretch/>
          </p:blipFill>
          <p:spPr bwMode="auto">
            <a:xfrm>
              <a:off x="584200" y="5266713"/>
              <a:ext cx="360000" cy="360000"/>
            </a:xfrm>
            <a:prstGeom prst="ellipse">
              <a:avLst/>
            </a:prstGeom>
            <a:solidFill>
              <a:srgbClr val="FFFFFF"/>
            </a:solidFill>
          </p:spPr>
        </p:pic>
      </p:grpSp>
      <p:sp>
        <p:nvSpPr>
          <p:cNvPr id="101" name="Text Placeholder 100">
            <a:extLst>
              <a:ext uri="{FF2B5EF4-FFF2-40B4-BE49-F238E27FC236}">
                <a16:creationId xmlns:a16="http://schemas.microsoft.com/office/drawing/2014/main" id="{B4614337-0169-6B02-875F-84ED13577C9C}"/>
              </a:ext>
            </a:extLst>
          </p:cNvPr>
          <p:cNvSpPr>
            <a:spLocks noGrp="1"/>
          </p:cNvSpPr>
          <p:nvPr>
            <p:ph type="body" sz="quarter" idx="30"/>
          </p:nvPr>
        </p:nvSpPr>
        <p:spPr>
          <a:xfrm>
            <a:off x="584200" y="5681038"/>
            <a:ext cx="2808000" cy="626701"/>
          </a:xfrm>
        </p:spPr>
        <p:txBody>
          <a:bodyPr/>
          <a:lstStyle/>
          <a:p>
            <a:r>
              <a:rPr lang="en-US" noProof="0" dirty="0"/>
              <a:t>Example Prompt: Turn this information into a shift report.</a:t>
            </a:r>
          </a:p>
        </p:txBody>
      </p:sp>
      <p:pic>
        <p:nvPicPr>
          <p:cNvPr id="19" name="Picture 18">
            <a:extLst>
              <a:ext uri="{FF2B5EF4-FFF2-40B4-BE49-F238E27FC236}">
                <a16:creationId xmlns:a16="http://schemas.microsoft.com/office/drawing/2014/main" id="{7C4B954A-F753-E5D1-7D96-31DCFD1E627A}"/>
              </a:ext>
            </a:extLst>
          </p:cNvPr>
          <p:cNvPicPr>
            <a:picLocks noChangeAspect="1"/>
          </p:cNvPicPr>
          <p:nvPr/>
        </p:nvPicPr>
        <p:blipFill rotWithShape="1">
          <a:blip r:embed="rId13">
            <a:extLst>
              <a:ext uri="{28A0092B-C50C-407E-A947-70E740481C1C}">
                <a14:useLocalDpi xmlns:a14="http://schemas.microsoft.com/office/drawing/2010/main"/>
              </a:ext>
            </a:extLst>
          </a:blip>
          <a:srcRect b="8279"/>
          <a:stretch/>
        </p:blipFill>
        <p:spPr>
          <a:xfrm>
            <a:off x="10348862" y="3237875"/>
            <a:ext cx="1843138" cy="3620125"/>
          </a:xfrm>
          <a:prstGeom prst="rect">
            <a:avLst/>
          </a:prstGeom>
        </p:spPr>
      </p:pic>
    </p:spTree>
    <p:extLst>
      <p:ext uri="{BB962C8B-B14F-4D97-AF65-F5344CB8AC3E}">
        <p14:creationId xmlns:p14="http://schemas.microsoft.com/office/powerpoint/2010/main" val="113688299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1">
            <a:extLst>
              <a:ext uri="{FF2B5EF4-FFF2-40B4-BE49-F238E27FC236}">
                <a16:creationId xmlns:a16="http://schemas.microsoft.com/office/drawing/2014/main" id="{98BFE39B-1528-621E-FB62-476136D03ABB}"/>
              </a:ext>
            </a:extLst>
          </p:cNvPr>
          <p:cNvSpPr>
            <a:spLocks noGrp="1"/>
          </p:cNvSpPr>
          <p:nvPr>
            <p:ph type="title"/>
          </p:nvPr>
        </p:nvSpPr>
        <p:spPr/>
        <p:txBody>
          <a:bodyPr>
            <a:noAutofit/>
          </a:bodyPr>
          <a:lstStyle/>
          <a:p>
            <a:r>
              <a:rPr lang="en-US" noProof="0" dirty="0"/>
              <a:t>”Effort” level for each scenario </a:t>
            </a:r>
            <a:br>
              <a:rPr lang="en-US" noProof="0" dirty="0"/>
            </a:br>
            <a:endParaRPr lang="en-US" sz="2000" noProof="0" dirty="0"/>
          </a:p>
        </p:txBody>
      </p:sp>
      <p:sp>
        <p:nvSpPr>
          <p:cNvPr id="3" name="Rectangle: Rounded Corners 34">
            <a:extLst>
              <a:ext uri="{FF2B5EF4-FFF2-40B4-BE49-F238E27FC236}">
                <a16:creationId xmlns:a16="http://schemas.microsoft.com/office/drawing/2014/main" id="{F80C1D04-3704-9FEA-363D-8F25042F93D0}"/>
              </a:ext>
              <a:ext uri="{C183D7F6-B498-43B3-948B-1728B52AA6E4}">
                <adec:decorative xmlns:adec="http://schemas.microsoft.com/office/drawing/2017/decorative" val="1"/>
              </a:ext>
            </a:extLst>
          </p:cNvPr>
          <p:cNvSpPr/>
          <p:nvPr/>
        </p:nvSpPr>
        <p:spPr bwMode="auto">
          <a:xfrm>
            <a:off x="609590" y="1842801"/>
            <a:ext cx="10972820" cy="4168324"/>
          </a:xfrm>
          <a:custGeom>
            <a:avLst/>
            <a:gdLst>
              <a:gd name="connsiteX0" fmla="*/ 0 w 4508748"/>
              <a:gd name="connsiteY0" fmla="*/ 58322 h 1647518"/>
              <a:gd name="connsiteX1" fmla="*/ 58322 w 4508748"/>
              <a:gd name="connsiteY1" fmla="*/ 0 h 1647518"/>
              <a:gd name="connsiteX2" fmla="*/ 4450426 w 4508748"/>
              <a:gd name="connsiteY2" fmla="*/ 0 h 1647518"/>
              <a:gd name="connsiteX3" fmla="*/ 4508748 w 4508748"/>
              <a:gd name="connsiteY3" fmla="*/ 58322 h 1647518"/>
              <a:gd name="connsiteX4" fmla="*/ 4508748 w 4508748"/>
              <a:gd name="connsiteY4" fmla="*/ 1589196 h 1647518"/>
              <a:gd name="connsiteX5" fmla="*/ 4450426 w 4508748"/>
              <a:gd name="connsiteY5" fmla="*/ 1647518 h 1647518"/>
              <a:gd name="connsiteX6" fmla="*/ 58322 w 4508748"/>
              <a:gd name="connsiteY6" fmla="*/ 1647518 h 1647518"/>
              <a:gd name="connsiteX7" fmla="*/ 0 w 4508748"/>
              <a:gd name="connsiteY7" fmla="*/ 1589196 h 1647518"/>
              <a:gd name="connsiteX8" fmla="*/ 0 w 4508748"/>
              <a:gd name="connsiteY8" fmla="*/ 58322 h 1647518"/>
              <a:gd name="connsiteX0" fmla="*/ 0 w 4508748"/>
              <a:gd name="connsiteY0" fmla="*/ 58666 h 1647862"/>
              <a:gd name="connsiteX1" fmla="*/ 58322 w 4508748"/>
              <a:gd name="connsiteY1" fmla="*/ 344 h 1647862"/>
              <a:gd name="connsiteX2" fmla="*/ 1333055 w 4508748"/>
              <a:gd name="connsiteY2" fmla="*/ 0 h 1647862"/>
              <a:gd name="connsiteX3" fmla="*/ 4450426 w 4508748"/>
              <a:gd name="connsiteY3" fmla="*/ 344 h 1647862"/>
              <a:gd name="connsiteX4" fmla="*/ 4508748 w 4508748"/>
              <a:gd name="connsiteY4" fmla="*/ 58666 h 1647862"/>
              <a:gd name="connsiteX5" fmla="*/ 4508748 w 4508748"/>
              <a:gd name="connsiteY5" fmla="*/ 1589540 h 1647862"/>
              <a:gd name="connsiteX6" fmla="*/ 4450426 w 4508748"/>
              <a:gd name="connsiteY6" fmla="*/ 1647862 h 1647862"/>
              <a:gd name="connsiteX7" fmla="*/ 58322 w 4508748"/>
              <a:gd name="connsiteY7" fmla="*/ 1647862 h 1647862"/>
              <a:gd name="connsiteX8" fmla="*/ 0 w 4508748"/>
              <a:gd name="connsiteY8" fmla="*/ 1589540 h 1647862"/>
              <a:gd name="connsiteX9" fmla="*/ 0 w 4508748"/>
              <a:gd name="connsiteY9" fmla="*/ 58666 h 1647862"/>
              <a:gd name="connsiteX0" fmla="*/ 0 w 4508748"/>
              <a:gd name="connsiteY0" fmla="*/ 60254 h 1649450"/>
              <a:gd name="connsiteX1" fmla="*/ 58322 w 4508748"/>
              <a:gd name="connsiteY1" fmla="*/ 1932 h 1649450"/>
              <a:gd name="connsiteX2" fmla="*/ 1333055 w 4508748"/>
              <a:gd name="connsiteY2" fmla="*/ 1588 h 1649450"/>
              <a:gd name="connsiteX3" fmla="*/ 3172967 w 4508748"/>
              <a:gd name="connsiteY3" fmla="*/ 0 h 1649450"/>
              <a:gd name="connsiteX4" fmla="*/ 4450426 w 4508748"/>
              <a:gd name="connsiteY4" fmla="*/ 1932 h 1649450"/>
              <a:gd name="connsiteX5" fmla="*/ 4508748 w 4508748"/>
              <a:gd name="connsiteY5" fmla="*/ 60254 h 1649450"/>
              <a:gd name="connsiteX6" fmla="*/ 4508748 w 4508748"/>
              <a:gd name="connsiteY6" fmla="*/ 1591128 h 1649450"/>
              <a:gd name="connsiteX7" fmla="*/ 4450426 w 4508748"/>
              <a:gd name="connsiteY7" fmla="*/ 1649450 h 1649450"/>
              <a:gd name="connsiteX8" fmla="*/ 58322 w 4508748"/>
              <a:gd name="connsiteY8" fmla="*/ 1649450 h 1649450"/>
              <a:gd name="connsiteX9" fmla="*/ 0 w 4508748"/>
              <a:gd name="connsiteY9" fmla="*/ 1591128 h 1649450"/>
              <a:gd name="connsiteX10" fmla="*/ 0 w 4508748"/>
              <a:gd name="connsiteY10" fmla="*/ 60254 h 1649450"/>
              <a:gd name="connsiteX0" fmla="*/ 3172967 w 4508748"/>
              <a:gd name="connsiteY0" fmla="*/ 0 h 1649450"/>
              <a:gd name="connsiteX1" fmla="*/ 4450426 w 4508748"/>
              <a:gd name="connsiteY1" fmla="*/ 1932 h 1649450"/>
              <a:gd name="connsiteX2" fmla="*/ 4508748 w 4508748"/>
              <a:gd name="connsiteY2" fmla="*/ 60254 h 1649450"/>
              <a:gd name="connsiteX3" fmla="*/ 4508748 w 4508748"/>
              <a:gd name="connsiteY3" fmla="*/ 1591128 h 1649450"/>
              <a:gd name="connsiteX4" fmla="*/ 4450426 w 4508748"/>
              <a:gd name="connsiteY4" fmla="*/ 1649450 h 1649450"/>
              <a:gd name="connsiteX5" fmla="*/ 58322 w 4508748"/>
              <a:gd name="connsiteY5" fmla="*/ 1649450 h 1649450"/>
              <a:gd name="connsiteX6" fmla="*/ 0 w 4508748"/>
              <a:gd name="connsiteY6" fmla="*/ 1591128 h 1649450"/>
              <a:gd name="connsiteX7" fmla="*/ 0 w 4508748"/>
              <a:gd name="connsiteY7" fmla="*/ 60254 h 1649450"/>
              <a:gd name="connsiteX8" fmla="*/ 58322 w 4508748"/>
              <a:gd name="connsiteY8" fmla="*/ 1932 h 1649450"/>
              <a:gd name="connsiteX9" fmla="*/ 1424495 w 4508748"/>
              <a:gd name="connsiteY9" fmla="*/ 93028 h 1649450"/>
              <a:gd name="connsiteX0" fmla="*/ 3172967 w 4508748"/>
              <a:gd name="connsiteY0" fmla="*/ 0 h 1649450"/>
              <a:gd name="connsiteX1" fmla="*/ 4450426 w 4508748"/>
              <a:gd name="connsiteY1" fmla="*/ 1932 h 1649450"/>
              <a:gd name="connsiteX2" fmla="*/ 4508748 w 4508748"/>
              <a:gd name="connsiteY2" fmla="*/ 60254 h 1649450"/>
              <a:gd name="connsiteX3" fmla="*/ 4508748 w 4508748"/>
              <a:gd name="connsiteY3" fmla="*/ 1591128 h 1649450"/>
              <a:gd name="connsiteX4" fmla="*/ 4450426 w 4508748"/>
              <a:gd name="connsiteY4" fmla="*/ 1649450 h 1649450"/>
              <a:gd name="connsiteX5" fmla="*/ 58322 w 4508748"/>
              <a:gd name="connsiteY5" fmla="*/ 1649450 h 1649450"/>
              <a:gd name="connsiteX6" fmla="*/ 0 w 4508748"/>
              <a:gd name="connsiteY6" fmla="*/ 1591128 h 1649450"/>
              <a:gd name="connsiteX7" fmla="*/ 0 w 4508748"/>
              <a:gd name="connsiteY7" fmla="*/ 60254 h 1649450"/>
              <a:gd name="connsiteX8" fmla="*/ 58322 w 4508748"/>
              <a:gd name="connsiteY8" fmla="*/ 1932 h 1649450"/>
              <a:gd name="connsiteX9" fmla="*/ 1399095 w 4508748"/>
              <a:gd name="connsiteY9" fmla="*/ 2541 h 1649450"/>
              <a:gd name="connsiteX0" fmla="*/ 3172967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335595 w 4508748"/>
              <a:gd name="connsiteY9" fmla="*/ 0 h 1650084"/>
              <a:gd name="connsiteX0" fmla="*/ 3172967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 name="connsiteX0" fmla="*/ 2929251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 name="connsiteX0" fmla="*/ 2914019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 name="connsiteX0" fmla="*/ 2914019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 name="connsiteX0" fmla="*/ 2874035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08748" h="1650084">
                <a:moveTo>
                  <a:pt x="2874035" y="634"/>
                </a:moveTo>
                <a:lnTo>
                  <a:pt x="4450426" y="2566"/>
                </a:lnTo>
                <a:cubicBezTo>
                  <a:pt x="4482636" y="2566"/>
                  <a:pt x="4508748" y="28678"/>
                  <a:pt x="4508748" y="60888"/>
                </a:cubicBezTo>
                <a:lnTo>
                  <a:pt x="4508748" y="1591762"/>
                </a:lnTo>
                <a:cubicBezTo>
                  <a:pt x="4508748" y="1623972"/>
                  <a:pt x="4482636" y="1650084"/>
                  <a:pt x="4450426" y="1650084"/>
                </a:cubicBezTo>
                <a:lnTo>
                  <a:pt x="58322" y="1650084"/>
                </a:lnTo>
                <a:cubicBezTo>
                  <a:pt x="26112" y="1650084"/>
                  <a:pt x="0" y="1623972"/>
                  <a:pt x="0" y="1591762"/>
                </a:cubicBezTo>
                <a:lnTo>
                  <a:pt x="0" y="60888"/>
                </a:lnTo>
                <a:cubicBezTo>
                  <a:pt x="0" y="28678"/>
                  <a:pt x="26112" y="2566"/>
                  <a:pt x="58322" y="2566"/>
                </a:cubicBezTo>
                <a:lnTo>
                  <a:pt x="1609776" y="0"/>
                </a:lnTo>
              </a:path>
            </a:pathLst>
          </a:custGeom>
          <a:solidFill>
            <a:schemeClr val="bg1"/>
          </a:solidFill>
          <a:ln w="9525" cap="flat" cmpd="sng" algn="ctr">
            <a:gradFill flip="none" rotWithShape="1">
              <a:gsLst>
                <a:gs pos="15000">
                  <a:srgbClr val="1264B1"/>
                </a:gs>
                <a:gs pos="100000">
                  <a:srgbClr val="944DCF"/>
                </a:gs>
              </a:gsLst>
              <a:lin ang="0" scaled="1"/>
              <a:tileRect/>
            </a:gra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3A4953"/>
              </a:solidFill>
              <a:effectLst/>
              <a:uLnTx/>
              <a:uFillTx/>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7D86F053-A9CF-1DAE-4AE2-E8510050621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594253" y="2214878"/>
            <a:ext cx="2383661" cy="3591243"/>
          </a:xfrm>
          <a:prstGeom prst="roundRect">
            <a:avLst>
              <a:gd name="adj" fmla="val 326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pic>
      <p:sp>
        <p:nvSpPr>
          <p:cNvPr id="14" name="Rectangle 13">
            <a:extLst>
              <a:ext uri="{FF2B5EF4-FFF2-40B4-BE49-F238E27FC236}">
                <a16:creationId xmlns:a16="http://schemas.microsoft.com/office/drawing/2014/main" id="{E56782E7-AAE2-7A77-5B10-08DC175ECF5C}"/>
              </a:ext>
            </a:extLst>
          </p:cNvPr>
          <p:cNvSpPr/>
          <p:nvPr/>
        </p:nvSpPr>
        <p:spPr bwMode="auto">
          <a:xfrm>
            <a:off x="3594253" y="2370772"/>
            <a:ext cx="2383661" cy="462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gradFill>
                  <a:gsLst>
                    <a:gs pos="35000">
                      <a:srgbClr val="0078D4"/>
                    </a:gs>
                    <a:gs pos="0">
                      <a:srgbClr val="C03BC4"/>
                    </a:gs>
                  </a:gsLst>
                  <a:path path="circle">
                    <a:fillToRect l="100000" t="100000"/>
                  </a:path>
                </a:gradFill>
                <a:effectLst/>
                <a:uLnTx/>
                <a:uFillTx/>
                <a:latin typeface="Segoe UI Semibold"/>
                <a:ea typeface="+mn-ea"/>
                <a:cs typeface="Segoe UI Semibold" panose="020B0702040204020203" pitchFamily="34" charset="0"/>
              </a:rPr>
              <a:t>Buy</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pic>
        <p:nvPicPr>
          <p:cNvPr id="15" name="!Copilot">
            <a:extLst>
              <a:ext uri="{FF2B5EF4-FFF2-40B4-BE49-F238E27FC236}">
                <a16:creationId xmlns:a16="http://schemas.microsoft.com/office/drawing/2014/main" id="{638B6E89-74D7-F9F8-E909-F1E0DDC9C748}"/>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73508" y="1524416"/>
            <a:ext cx="636771" cy="636770"/>
          </a:xfrm>
          <a:prstGeom prst="rect">
            <a:avLst/>
          </a:prstGeom>
          <a:noFill/>
          <a:ln>
            <a:noFill/>
            <a:headEnd type="none" w="med" len="med"/>
            <a:tailEnd type="none" w="med" len="med"/>
          </a:ln>
          <a:effectLst>
            <a:outerShdw blurRad="50800" dist="38100" dir="2700000" sx="103000" sy="103000" algn="tl" rotWithShape="0">
              <a:prstClr val="black">
                <a:alpha val="40000"/>
              </a:prstClr>
            </a:outerShdw>
          </a:effectLst>
        </p:spPr>
      </p:pic>
      <p:sp>
        <p:nvSpPr>
          <p:cNvPr id="21" name="Rectangle 20">
            <a:extLst>
              <a:ext uri="{FF2B5EF4-FFF2-40B4-BE49-F238E27FC236}">
                <a16:creationId xmlns:a16="http://schemas.microsoft.com/office/drawing/2014/main" id="{6C8AF7A2-94ED-5EE9-0E85-66B6413660F9}"/>
              </a:ext>
            </a:extLst>
          </p:cNvPr>
          <p:cNvSpPr>
            <a:spLocks/>
          </p:cNvSpPr>
          <p:nvPr/>
        </p:nvSpPr>
        <p:spPr bwMode="auto">
          <a:xfrm>
            <a:off x="3594253" y="4636533"/>
            <a:ext cx="2383661" cy="1049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icrosoft 365 Copilot</a:t>
            </a:r>
          </a:p>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Security Copilot</a:t>
            </a:r>
          </a:p>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ynamics 365</a:t>
            </a:r>
          </a:p>
        </p:txBody>
      </p:sp>
      <p:sp>
        <p:nvSpPr>
          <p:cNvPr id="23" name="TextBox 22">
            <a:extLst>
              <a:ext uri="{FF2B5EF4-FFF2-40B4-BE49-F238E27FC236}">
                <a16:creationId xmlns:a16="http://schemas.microsoft.com/office/drawing/2014/main" id="{CF00C3D3-B1E4-C188-849F-54568FD4C06A}"/>
              </a:ext>
            </a:extLst>
          </p:cNvPr>
          <p:cNvSpPr txBox="1"/>
          <p:nvPr/>
        </p:nvSpPr>
        <p:spPr>
          <a:xfrm>
            <a:off x="3594253" y="3975006"/>
            <a:ext cx="2383661" cy="507831"/>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Unlock productivity out of the box (Licensed AI produc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52000">
                    <a:srgbClr val="593DA7"/>
                  </a:gs>
                  <a:gs pos="100000">
                    <a:srgbClr val="7030A0"/>
                  </a:gs>
                  <a:gs pos="0">
                    <a:srgbClr val="0070C0"/>
                  </a:gs>
                </a:gsLst>
                <a:lin ang="2700000" scaled="1"/>
              </a:gradFill>
              <a:effectLst/>
              <a:uLnTx/>
              <a:uFillTx/>
              <a:latin typeface="Segoe UI Semibold"/>
              <a:ea typeface="+mn-ea"/>
              <a:cs typeface="+mn-cs"/>
            </a:endParaRPr>
          </a:p>
        </p:txBody>
      </p:sp>
      <p:sp>
        <p:nvSpPr>
          <p:cNvPr id="26" name="TextBox 25">
            <a:extLst>
              <a:ext uri="{FF2B5EF4-FFF2-40B4-BE49-F238E27FC236}">
                <a16:creationId xmlns:a16="http://schemas.microsoft.com/office/drawing/2014/main" id="{E1578706-B029-DEF1-C008-D7020D177FC1}"/>
              </a:ext>
            </a:extLst>
          </p:cNvPr>
          <p:cNvSpPr txBox="1"/>
          <p:nvPr/>
        </p:nvSpPr>
        <p:spPr>
          <a:xfrm>
            <a:off x="4572723" y="3145657"/>
            <a:ext cx="4267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a:ea typeface="+mn-ea"/>
                <a:cs typeface="+mn-cs"/>
              </a:rPr>
              <a:t>2</a:t>
            </a:r>
          </a:p>
        </p:txBody>
      </p:sp>
      <p:pic>
        <p:nvPicPr>
          <p:cNvPr id="28" name="Picture 27">
            <a:extLst>
              <a:ext uri="{FF2B5EF4-FFF2-40B4-BE49-F238E27FC236}">
                <a16:creationId xmlns:a16="http://schemas.microsoft.com/office/drawing/2014/main" id="{C175B5BC-E29B-076E-FA5F-F0F27F6E8C2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24035" y="2225949"/>
            <a:ext cx="2383661" cy="3591243"/>
          </a:xfrm>
          <a:prstGeom prst="roundRect">
            <a:avLst>
              <a:gd name="adj" fmla="val 326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pic>
      <p:sp>
        <p:nvSpPr>
          <p:cNvPr id="33" name="Rectangle 32">
            <a:extLst>
              <a:ext uri="{FF2B5EF4-FFF2-40B4-BE49-F238E27FC236}">
                <a16:creationId xmlns:a16="http://schemas.microsoft.com/office/drawing/2014/main" id="{75BC062F-832E-722B-BF7D-121DE5649341}"/>
              </a:ext>
            </a:extLst>
          </p:cNvPr>
          <p:cNvSpPr/>
          <p:nvPr/>
        </p:nvSpPr>
        <p:spPr bwMode="auto">
          <a:xfrm>
            <a:off x="6224035" y="2370772"/>
            <a:ext cx="2383661" cy="462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gradFill>
                  <a:gsLst>
                    <a:gs pos="35000">
                      <a:srgbClr val="0078D4"/>
                    </a:gs>
                    <a:gs pos="0">
                      <a:srgbClr val="C03BC4"/>
                    </a:gs>
                  </a:gsLst>
                  <a:path path="circle">
                    <a:fillToRect l="100000" t="100000"/>
                  </a:path>
                </a:gradFill>
                <a:effectLst/>
                <a:uLnTx/>
                <a:uFillTx/>
                <a:latin typeface="Segoe UI Semibold"/>
                <a:ea typeface="+mn-ea"/>
                <a:cs typeface="Segoe UI Semibold" panose="020B0702040204020203" pitchFamily="34" charset="0"/>
              </a:rPr>
              <a:t>Extend</a:t>
            </a:r>
          </a:p>
        </p:txBody>
      </p:sp>
      <p:sp>
        <p:nvSpPr>
          <p:cNvPr id="34" name="Rectangle 33">
            <a:extLst>
              <a:ext uri="{FF2B5EF4-FFF2-40B4-BE49-F238E27FC236}">
                <a16:creationId xmlns:a16="http://schemas.microsoft.com/office/drawing/2014/main" id="{2817A4C0-E0D0-FAD3-FAFB-657E4EBC47D9}"/>
              </a:ext>
            </a:extLst>
          </p:cNvPr>
          <p:cNvSpPr>
            <a:spLocks/>
          </p:cNvSpPr>
          <p:nvPr/>
        </p:nvSpPr>
        <p:spPr bwMode="auto">
          <a:xfrm>
            <a:off x="6224035" y="4636533"/>
            <a:ext cx="2383661" cy="1049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Role-based Copilot agent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SharePoint agent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gent Builder</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opilot Studio</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35" name="TextBox 34">
            <a:extLst>
              <a:ext uri="{FF2B5EF4-FFF2-40B4-BE49-F238E27FC236}">
                <a16:creationId xmlns:a16="http://schemas.microsoft.com/office/drawing/2014/main" id="{C8395AFA-C865-21DF-7A84-4ECE8494F3C4}"/>
              </a:ext>
            </a:extLst>
          </p:cNvPr>
          <p:cNvSpPr txBox="1"/>
          <p:nvPr/>
        </p:nvSpPr>
        <p:spPr>
          <a:xfrm>
            <a:off x="6224035" y="3890368"/>
            <a:ext cx="2383661" cy="67710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Tailor your data, systems, and workflows via agen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Low-code agents or purchased AI apps and agents)</a:t>
            </a:r>
          </a:p>
        </p:txBody>
      </p:sp>
      <p:sp>
        <p:nvSpPr>
          <p:cNvPr id="36" name="TextBox 35">
            <a:extLst>
              <a:ext uri="{FF2B5EF4-FFF2-40B4-BE49-F238E27FC236}">
                <a16:creationId xmlns:a16="http://schemas.microsoft.com/office/drawing/2014/main" id="{74DA14D6-5779-A9FE-105D-339F0D79B923}"/>
              </a:ext>
            </a:extLst>
          </p:cNvPr>
          <p:cNvSpPr txBox="1"/>
          <p:nvPr/>
        </p:nvSpPr>
        <p:spPr>
          <a:xfrm>
            <a:off x="7202505" y="3145657"/>
            <a:ext cx="4267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a:ea typeface="+mn-ea"/>
                <a:cs typeface="+mn-cs"/>
              </a:rPr>
              <a:t>3</a:t>
            </a:r>
          </a:p>
        </p:txBody>
      </p:sp>
      <p:pic>
        <p:nvPicPr>
          <p:cNvPr id="67" name="Picture 66">
            <a:extLst>
              <a:ext uri="{FF2B5EF4-FFF2-40B4-BE49-F238E27FC236}">
                <a16:creationId xmlns:a16="http://schemas.microsoft.com/office/drawing/2014/main" id="{B571EBC8-A462-D319-C57C-12F5E7CAC6C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44249" y="2230868"/>
            <a:ext cx="2383661" cy="3591243"/>
          </a:xfrm>
          <a:prstGeom prst="roundRect">
            <a:avLst>
              <a:gd name="adj" fmla="val 326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pic>
      <p:sp>
        <p:nvSpPr>
          <p:cNvPr id="68" name="Rectangle 67">
            <a:extLst>
              <a:ext uri="{FF2B5EF4-FFF2-40B4-BE49-F238E27FC236}">
                <a16:creationId xmlns:a16="http://schemas.microsoft.com/office/drawing/2014/main" id="{E0F5EFAE-776F-44E9-5CDE-128AF8C9EDE8}"/>
              </a:ext>
            </a:extLst>
          </p:cNvPr>
          <p:cNvSpPr/>
          <p:nvPr/>
        </p:nvSpPr>
        <p:spPr bwMode="auto">
          <a:xfrm>
            <a:off x="1044249" y="2370772"/>
            <a:ext cx="2383661" cy="462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dirty="0">
                <a:ln>
                  <a:noFill/>
                </a:ln>
                <a:gradFill>
                  <a:gsLst>
                    <a:gs pos="35000">
                      <a:srgbClr val="0078D4"/>
                    </a:gs>
                    <a:gs pos="0">
                      <a:srgbClr val="C03BC4"/>
                    </a:gs>
                  </a:gsLst>
                  <a:path path="circle">
                    <a:fillToRect l="100000" t="100000"/>
                  </a:path>
                </a:gradFill>
                <a:effectLst/>
                <a:uLnTx/>
                <a:uFillTx/>
                <a:latin typeface="Segoe UI Semibold"/>
                <a:ea typeface="+mn-ea"/>
                <a:cs typeface="Segoe UI Semibold" panose="020B0702040204020203" pitchFamily="34" charset="0"/>
              </a:rPr>
              <a:t>Start</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9" name="Rectangle 68">
            <a:extLst>
              <a:ext uri="{FF2B5EF4-FFF2-40B4-BE49-F238E27FC236}">
                <a16:creationId xmlns:a16="http://schemas.microsoft.com/office/drawing/2014/main" id="{0D21CDE8-32BC-BAD9-85ED-3A5A224F82B0}"/>
              </a:ext>
            </a:extLst>
          </p:cNvPr>
          <p:cNvSpPr>
            <a:spLocks/>
          </p:cNvSpPr>
          <p:nvPr/>
        </p:nvSpPr>
        <p:spPr bwMode="auto">
          <a:xfrm>
            <a:off x="1044249" y="4636533"/>
            <a:ext cx="2383661" cy="1049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icrosoft 365 Copilot Chat</a:t>
            </a:r>
          </a:p>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Web-grounded agents</a:t>
            </a:r>
          </a:p>
        </p:txBody>
      </p:sp>
      <p:sp>
        <p:nvSpPr>
          <p:cNvPr id="70" name="TextBox 69">
            <a:extLst>
              <a:ext uri="{FF2B5EF4-FFF2-40B4-BE49-F238E27FC236}">
                <a16:creationId xmlns:a16="http://schemas.microsoft.com/office/drawing/2014/main" id="{54D29E12-4AF2-0B91-6B55-DFC4772E4D58}"/>
              </a:ext>
            </a:extLst>
          </p:cNvPr>
          <p:cNvSpPr txBox="1"/>
          <p:nvPr/>
        </p:nvSpPr>
        <p:spPr>
          <a:xfrm>
            <a:off x="1044249" y="3975006"/>
            <a:ext cx="2383661" cy="507831"/>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Your first step into generative AI (Included in Microsoft 365)</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gradFill>
                <a:gsLst>
                  <a:gs pos="52000">
                    <a:srgbClr val="593DA7"/>
                  </a:gs>
                  <a:gs pos="100000">
                    <a:srgbClr val="7030A0"/>
                  </a:gs>
                  <a:gs pos="0">
                    <a:srgbClr val="0070C0"/>
                  </a:gs>
                </a:gsLst>
                <a:lin ang="2700000" scaled="1"/>
              </a:gradFill>
              <a:effectLst/>
              <a:uLnTx/>
              <a:uFillTx/>
              <a:latin typeface="Segoe UI Semibold"/>
              <a:ea typeface="+mn-ea"/>
              <a:cs typeface="+mn-cs"/>
            </a:endParaRPr>
          </a:p>
        </p:txBody>
      </p:sp>
      <p:sp>
        <p:nvSpPr>
          <p:cNvPr id="71" name="Arc 70">
            <a:extLst>
              <a:ext uri="{FF2B5EF4-FFF2-40B4-BE49-F238E27FC236}">
                <a16:creationId xmlns:a16="http://schemas.microsoft.com/office/drawing/2014/main" id="{551E9954-DAA9-A9D8-1F25-28442EA091A3}"/>
              </a:ext>
              <a:ext uri="{C183D7F6-B498-43B3-948B-1728B52AA6E4}">
                <adec:decorative xmlns:adec="http://schemas.microsoft.com/office/drawing/2017/decorative" val="1"/>
              </a:ext>
            </a:extLst>
          </p:cNvPr>
          <p:cNvSpPr>
            <a:spLocks/>
          </p:cNvSpPr>
          <p:nvPr/>
        </p:nvSpPr>
        <p:spPr>
          <a:xfrm>
            <a:off x="1903571" y="3043981"/>
            <a:ext cx="665017" cy="665017"/>
          </a:xfrm>
          <a:prstGeom prst="arc">
            <a:avLst>
              <a:gd name="adj1" fmla="val 16262667"/>
              <a:gd name="adj2" fmla="val 85198"/>
            </a:avLst>
          </a:prstGeom>
          <a:noFill/>
          <a:ln w="19050" cap="rnd" cmpd="sng" algn="ctr">
            <a:solidFill>
              <a:srgbClr val="7030A0"/>
            </a:solidFill>
            <a:prstDash val="solid"/>
            <a:headEnd type="none" w="lg" len="med"/>
            <a:tailEnd type="none" w="lg"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60CFB97A-3BEC-0AC5-3269-6992F910B89C}"/>
              </a:ext>
            </a:extLst>
          </p:cNvPr>
          <p:cNvSpPr txBox="1"/>
          <p:nvPr/>
        </p:nvSpPr>
        <p:spPr>
          <a:xfrm>
            <a:off x="2022719" y="3145657"/>
            <a:ext cx="4267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a:ea typeface="+mn-ea"/>
                <a:cs typeface="+mn-cs"/>
              </a:rPr>
              <a:t>1</a:t>
            </a:r>
          </a:p>
        </p:txBody>
      </p:sp>
      <p:sp>
        <p:nvSpPr>
          <p:cNvPr id="16" name="Arc 15">
            <a:extLst>
              <a:ext uri="{FF2B5EF4-FFF2-40B4-BE49-F238E27FC236}">
                <a16:creationId xmlns:a16="http://schemas.microsoft.com/office/drawing/2014/main" id="{BC536F31-1C17-A480-8866-B9F624BCFCB5}"/>
              </a:ext>
              <a:ext uri="{C183D7F6-B498-43B3-948B-1728B52AA6E4}">
                <adec:decorative xmlns:adec="http://schemas.microsoft.com/office/drawing/2017/decorative" val="1"/>
              </a:ext>
            </a:extLst>
          </p:cNvPr>
          <p:cNvSpPr>
            <a:spLocks/>
          </p:cNvSpPr>
          <p:nvPr/>
        </p:nvSpPr>
        <p:spPr>
          <a:xfrm>
            <a:off x="4453575" y="3043981"/>
            <a:ext cx="665017" cy="665017"/>
          </a:xfrm>
          <a:prstGeom prst="arc">
            <a:avLst>
              <a:gd name="adj1" fmla="val 16181814"/>
              <a:gd name="adj2" fmla="val 5375074"/>
            </a:avLst>
          </a:prstGeom>
          <a:noFill/>
          <a:ln w="19050" cap="rnd" cmpd="sng" algn="ctr">
            <a:solidFill>
              <a:srgbClr val="7030A0"/>
            </a:solidFill>
            <a:prstDash val="solid"/>
            <a:headEnd type="none" w="lg" len="med"/>
            <a:tailEnd type="none" w="lg"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091E2289-6CF8-B55E-3E57-D240EDD39C9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8985146" y="2225949"/>
            <a:ext cx="2383661" cy="3591243"/>
          </a:xfrm>
          <a:prstGeom prst="roundRect">
            <a:avLst>
              <a:gd name="adj" fmla="val 326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pic>
      <p:sp>
        <p:nvSpPr>
          <p:cNvPr id="7" name="Rectangle 6">
            <a:extLst>
              <a:ext uri="{FF2B5EF4-FFF2-40B4-BE49-F238E27FC236}">
                <a16:creationId xmlns:a16="http://schemas.microsoft.com/office/drawing/2014/main" id="{E090F020-7EDB-9E00-2FBB-9B9F96B9FC88}"/>
              </a:ext>
            </a:extLst>
          </p:cNvPr>
          <p:cNvSpPr/>
          <p:nvPr/>
        </p:nvSpPr>
        <p:spPr bwMode="auto">
          <a:xfrm>
            <a:off x="8985146" y="2370772"/>
            <a:ext cx="2383661" cy="462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gradFill>
                  <a:gsLst>
                    <a:gs pos="35000">
                      <a:srgbClr val="0078D4"/>
                    </a:gs>
                    <a:gs pos="0">
                      <a:srgbClr val="C03BC4"/>
                    </a:gs>
                  </a:gsLst>
                  <a:path path="circle">
                    <a:fillToRect l="100000" t="100000"/>
                  </a:path>
                </a:gradFill>
                <a:effectLst/>
                <a:uLnTx/>
                <a:uFillTx/>
                <a:latin typeface="Segoe UI Semibold"/>
                <a:ea typeface="+mn-ea"/>
                <a:cs typeface="Segoe UI Semibold" panose="020B0702040204020203" pitchFamily="34" charset="0"/>
              </a:rPr>
              <a:t>Build</a:t>
            </a:r>
          </a:p>
        </p:txBody>
      </p:sp>
      <p:sp>
        <p:nvSpPr>
          <p:cNvPr id="8" name="Rectangle 7">
            <a:extLst>
              <a:ext uri="{FF2B5EF4-FFF2-40B4-BE49-F238E27FC236}">
                <a16:creationId xmlns:a16="http://schemas.microsoft.com/office/drawing/2014/main" id="{B7D1CA22-331B-C0A6-9536-D8F04A9B22A5}"/>
              </a:ext>
            </a:extLst>
          </p:cNvPr>
          <p:cNvSpPr>
            <a:spLocks/>
          </p:cNvSpPr>
          <p:nvPr/>
        </p:nvSpPr>
        <p:spPr bwMode="auto">
          <a:xfrm>
            <a:off x="8985146" y="4636533"/>
            <a:ext cx="2383661" cy="1049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Copilot Studio</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Azure AI Foundry</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9" name="TextBox 8">
            <a:extLst>
              <a:ext uri="{FF2B5EF4-FFF2-40B4-BE49-F238E27FC236}">
                <a16:creationId xmlns:a16="http://schemas.microsoft.com/office/drawing/2014/main" id="{A3C62E3F-75FE-AC1C-E5B1-FA90BD6F280B}"/>
              </a:ext>
            </a:extLst>
          </p:cNvPr>
          <p:cNvSpPr txBox="1"/>
          <p:nvPr/>
        </p:nvSpPr>
        <p:spPr>
          <a:xfrm>
            <a:off x="8985146" y="3975006"/>
            <a:ext cx="2383661" cy="33855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Build AI-driven applic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Pro-code agents and apps)</a:t>
            </a:r>
          </a:p>
        </p:txBody>
      </p:sp>
      <p:sp>
        <p:nvSpPr>
          <p:cNvPr id="17" name="TextBox 16">
            <a:extLst>
              <a:ext uri="{FF2B5EF4-FFF2-40B4-BE49-F238E27FC236}">
                <a16:creationId xmlns:a16="http://schemas.microsoft.com/office/drawing/2014/main" id="{FE65CF3D-8C99-B066-0D4E-2AF8C9A660B3}"/>
              </a:ext>
            </a:extLst>
          </p:cNvPr>
          <p:cNvSpPr txBox="1"/>
          <p:nvPr/>
        </p:nvSpPr>
        <p:spPr>
          <a:xfrm>
            <a:off x="9963616" y="3145657"/>
            <a:ext cx="4267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a:ea typeface="+mn-ea"/>
                <a:cs typeface="+mn-cs"/>
              </a:rPr>
              <a:t>4</a:t>
            </a:r>
          </a:p>
        </p:txBody>
      </p:sp>
      <p:sp>
        <p:nvSpPr>
          <p:cNvPr id="18" name="Oval 17">
            <a:extLst>
              <a:ext uri="{FF2B5EF4-FFF2-40B4-BE49-F238E27FC236}">
                <a16:creationId xmlns:a16="http://schemas.microsoft.com/office/drawing/2014/main" id="{7EF401AD-3A2B-34FA-2F6E-1641D26BB92B}"/>
              </a:ext>
              <a:ext uri="{C183D7F6-B498-43B3-948B-1728B52AA6E4}">
                <adec:decorative xmlns:adec="http://schemas.microsoft.com/office/drawing/2017/decorative" val="1"/>
              </a:ext>
            </a:extLst>
          </p:cNvPr>
          <p:cNvSpPr>
            <a:spLocks/>
          </p:cNvSpPr>
          <p:nvPr/>
        </p:nvSpPr>
        <p:spPr>
          <a:xfrm>
            <a:off x="9844468" y="3043981"/>
            <a:ext cx="665017" cy="665017"/>
          </a:xfrm>
          <a:prstGeom prst="ellipse">
            <a:avLst/>
          </a:prstGeom>
          <a:noFill/>
          <a:ln w="19050" cap="rnd" cmpd="sng" algn="ctr">
            <a:solidFill>
              <a:srgbClr val="7030A0"/>
            </a:solidFill>
            <a:prstDash val="solid"/>
            <a:headEnd type="none" w="lg" len="med"/>
            <a:tailEnd type="none" w="lg"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pic>
        <p:nvPicPr>
          <p:cNvPr id="1028" name="Picture 4" descr="Azure AI Studio - Pricing | Microsoft Azure">
            <a:extLst>
              <a:ext uri="{FF2B5EF4-FFF2-40B4-BE49-F238E27FC236}">
                <a16:creationId xmlns:a16="http://schemas.microsoft.com/office/drawing/2014/main" id="{FFB7A2B8-43EE-0C2B-09A0-5E462B7C9E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38011" y="1396006"/>
            <a:ext cx="1575489" cy="827132"/>
          </a:xfrm>
          <a:prstGeom prst="rect">
            <a:avLst/>
          </a:prstGeom>
          <a:noFill/>
          <a:extLst>
            <a:ext uri="{909E8E84-426E-40DD-AFC4-6F175D3DCCD1}">
              <a14:hiddenFill xmlns:a14="http://schemas.microsoft.com/office/drawing/2010/main">
                <a:solidFill>
                  <a:srgbClr val="FFFFFF"/>
                </a:solidFill>
              </a14:hiddenFill>
            </a:ext>
          </a:extLst>
        </p:spPr>
      </p:pic>
      <p:sp>
        <p:nvSpPr>
          <p:cNvPr id="25" name="Arc 24">
            <a:extLst>
              <a:ext uri="{FF2B5EF4-FFF2-40B4-BE49-F238E27FC236}">
                <a16:creationId xmlns:a16="http://schemas.microsoft.com/office/drawing/2014/main" id="{D9FC6D99-EFD4-CBE4-606C-1A1135A704E0}"/>
              </a:ext>
              <a:ext uri="{C183D7F6-B498-43B3-948B-1728B52AA6E4}">
                <adec:decorative xmlns:adec="http://schemas.microsoft.com/office/drawing/2017/decorative" val="1"/>
              </a:ext>
            </a:extLst>
          </p:cNvPr>
          <p:cNvSpPr>
            <a:spLocks/>
          </p:cNvSpPr>
          <p:nvPr/>
        </p:nvSpPr>
        <p:spPr>
          <a:xfrm>
            <a:off x="7083357" y="3043981"/>
            <a:ext cx="665017" cy="665017"/>
          </a:xfrm>
          <a:prstGeom prst="arc">
            <a:avLst>
              <a:gd name="adj1" fmla="val 16276073"/>
              <a:gd name="adj2" fmla="val 10891520"/>
            </a:avLst>
          </a:prstGeom>
          <a:noFill/>
          <a:ln w="19050" cap="rnd" cmpd="sng" algn="ctr">
            <a:solidFill>
              <a:srgbClr val="7030A0"/>
            </a:solidFill>
            <a:prstDash val="solid"/>
            <a:headEnd type="none" w="lg" len="med"/>
            <a:tailEnd type="none" w="lg"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pic>
        <p:nvPicPr>
          <p:cNvPr id="5" name="Picture 4" descr="Microsoft Copilot Studio Pricing 2025: Is it Worth It?">
            <a:extLst>
              <a:ext uri="{FF2B5EF4-FFF2-40B4-BE49-F238E27FC236}">
                <a16:creationId xmlns:a16="http://schemas.microsoft.com/office/drawing/2014/main" id="{91234ABE-566A-7AB8-1915-4348147A9700}"/>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7778" b="92778" l="1111" r="97778">
                        <a14:foregroundMark x1="175" y1="50726" x2="1667" y2="71111"/>
                        <a14:foregroundMark x1="1667" y1="71111" x2="5000" y2="81111"/>
                        <a14:foregroundMark x1="5000" y1="81111" x2="14006" y2="83684"/>
                        <a14:foregroundMark x1="71924" y1="85379" x2="71111" y2="82778"/>
                        <a14:foregroundMark x1="71111" y1="82778" x2="21667" y2="46111"/>
                        <a14:foregroundMark x1="21667" y1="46111" x2="16169" y2="44737"/>
                        <a14:foregroundMark x1="27778" y1="10556" x2="62778" y2="7222"/>
                        <a14:foregroundMark x1="62778" y1="7222" x2="72778" y2="7778"/>
                        <a14:foregroundMark x1="72778" y1="7778" x2="40000" y2="13333"/>
                        <a14:foregroundMark x1="40000" y1="13333" x2="30000" y2="11667"/>
                        <a14:foregroundMark x1="30000" y1="11667" x2="28889" y2="10556"/>
                        <a14:foregroundMark x1="81976" y1="15943" x2="83333" y2="16667"/>
                        <a14:foregroundMark x1="81398" y1="15635" x2="81561" y2="15722"/>
                        <a14:foregroundMark x1="83333" y1="16667" x2="93333" y2="18333"/>
                        <a14:foregroundMark x1="93333" y1="18333" x2="99444" y2="21111"/>
                        <a14:foregroundMark x1="99444" y1="21111" x2="98333" y2="56667"/>
                        <a14:foregroundMark x1="91887" y1="57778" x2="82222" y2="59444"/>
                        <a14:foregroundMark x1="82222" y1="59444" x2="74444" y2="58333"/>
                        <a14:foregroundMark x1="74444" y1="58333" x2="63333" y2="31667"/>
                        <a14:foregroundMark x1="63333" y1="31667" x2="64444" y2="16667"/>
                        <a14:foregroundMark x1="64444" y1="16667" x2="69444" y2="11667"/>
                        <a14:foregroundMark x1="69444" y1="11667" x2="74977" y2="11667"/>
                        <a14:foregroundMark x1="685" y1="50604" x2="1111" y2="72778"/>
                        <a14:foregroundMark x1="1111" y1="72778" x2="3889" y2="81667"/>
                        <a14:foregroundMark x1="3889" y1="81667" x2="10556" y2="75000"/>
                        <a14:foregroundMark x1="10556" y1="75000" x2="10556" y2="51667"/>
                        <a14:foregroundMark x1="10556" y1="51667" x2="9830" y2="48945"/>
                        <a14:foregroundMark x1="531" y1="50641" x2="0" y2="76111"/>
                        <a14:foregroundMark x1="0" y1="76111" x2="5000" y2="50000"/>
                        <a14:foregroundMark x1="5000" y1="50000" x2="4924" y2="49791"/>
                        <a14:foregroundMark x1="25725" y1="92837" x2="26239" y2="93017"/>
                        <a14:foregroundMark x1="2684" y1="42942" x2="1667" y2="43333"/>
                        <a14:foregroundMark x1="1667" y1="43333" x2="2437" y2="43372"/>
                        <a14:foregroundMark x1="2262" y1="43677" x2="1111" y2="44444"/>
                        <a14:foregroundMark x1="65556" y1="91111" x2="71903" y2="89646"/>
                        <a14:foregroundMark x1="71870" y1="89609" x2="66667" y2="90556"/>
                        <a14:foregroundMark x1="73148" y1="88889" x2="73014" y2="89090"/>
                        <a14:backgroundMark x1="75556" y1="11111" x2="81111" y2="15000"/>
                        <a14:backgroundMark x1="81111" y1="15000" x2="76667" y2="11667"/>
                        <a14:backgroundMark x1="81667" y1="15556" x2="82222" y2="15556"/>
                        <a14:backgroundMark x1="98333" y1="56667" x2="98333" y2="57778"/>
                        <a14:backgroundMark x1="64854" y1="92372" x2="63889" y2="92778"/>
                        <a14:backgroundMark x1="63889" y1="92778" x2="28333" y2="96111"/>
                        <a14:backgroundMark x1="25556" y1="94444" x2="25556" y2="91667"/>
                        <a14:backgroundMark x1="24444" y1="90000" x2="17778" y2="85000"/>
                        <a14:backgroundMark x1="17778" y1="85000" x2="14444" y2="84444"/>
                        <a14:backgroundMark x1="74444" y1="87778" x2="74444" y2="88889"/>
                        <a14:backgroundMark x1="73333" y1="89444" x2="72222" y2="90000"/>
                        <a14:backgroundMark x1="556" y1="43889" x2="1667" y2="42778"/>
                        <a14:backgroundMark x1="2778" y1="42778" x2="18889" y2="40000"/>
                      </a14:backgroundRemoval>
                    </a14:imgEffect>
                  </a14:imgLayer>
                </a14:imgProps>
              </a:ext>
              <a:ext uri="{28A0092B-C50C-407E-A947-70E740481C1C}">
                <a14:useLocalDpi xmlns:a14="http://schemas.microsoft.com/office/drawing/2010/main" val="0"/>
              </a:ext>
            </a:extLst>
          </a:blip>
          <a:srcRect/>
          <a:stretch>
            <a:fillRect/>
          </a:stretch>
        </p:blipFill>
        <p:spPr bwMode="auto">
          <a:xfrm>
            <a:off x="5789396" y="1522381"/>
            <a:ext cx="648221" cy="6482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073176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989251-49BF-143B-CC48-F95711E4A26C}"/>
              </a:ext>
            </a:extLst>
          </p:cNvPr>
          <p:cNvSpPr>
            <a:spLocks noGrp="1"/>
          </p:cNvSpPr>
          <p:nvPr>
            <p:ph type="title"/>
          </p:nvPr>
        </p:nvSpPr>
        <p:spPr>
          <a:xfrm>
            <a:off x="588264" y="3243302"/>
            <a:ext cx="4733036" cy="1107996"/>
          </a:xfrm>
        </p:spPr>
        <p:txBody>
          <a:bodyPr/>
          <a:lstStyle/>
          <a:p>
            <a:r>
              <a:rPr lang="en-US" noProof="0" dirty="0"/>
              <a:t>AI use cases for</a:t>
            </a:r>
            <a:br>
              <a:rPr lang="en-US" noProof="0" dirty="0"/>
            </a:br>
            <a:r>
              <a:rPr lang="en-US" noProof="0" dirty="0">
                <a:gradFill>
                  <a:gsLst>
                    <a:gs pos="35000">
                      <a:srgbClr val="0078D4"/>
                    </a:gs>
                    <a:gs pos="0">
                      <a:srgbClr val="C03BC4"/>
                    </a:gs>
                  </a:gsLst>
                  <a:path path="circle">
                    <a:fillToRect l="100000" t="100000"/>
                  </a:path>
                </a:gradFill>
              </a:rPr>
              <a:t>Retail</a:t>
            </a:r>
          </a:p>
        </p:txBody>
      </p:sp>
      <p:pic>
        <p:nvPicPr>
          <p:cNvPr id="6" name="Picture 5" descr="A rainbow colored logo on a black background&#10;&#10;Description automatically generated">
            <a:extLst>
              <a:ext uri="{FF2B5EF4-FFF2-40B4-BE49-F238E27FC236}">
                <a16:creationId xmlns:a16="http://schemas.microsoft.com/office/drawing/2014/main" id="{9993DC62-4060-2762-A3B2-8A5A3417E38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5165" y="1881533"/>
            <a:ext cx="1166467" cy="1166467"/>
          </a:xfrm>
          <a:prstGeom prst="rect">
            <a:avLst/>
          </a:prstGeom>
        </p:spPr>
      </p:pic>
      <p:pic>
        <p:nvPicPr>
          <p:cNvPr id="2" name="Picture 1">
            <a:extLst>
              <a:ext uri="{FF2B5EF4-FFF2-40B4-BE49-F238E27FC236}">
                <a16:creationId xmlns:a16="http://schemas.microsoft.com/office/drawing/2014/main" id="{4035835D-1824-BE68-07FE-027A8BD472E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242050" y="895349"/>
            <a:ext cx="5086351" cy="5086351"/>
          </a:xfrm>
          <a:prstGeom prst="roundRect">
            <a:avLst>
              <a:gd name="adj" fmla="val 4674"/>
            </a:avLst>
          </a:prstGeom>
          <a:ln w="12700">
            <a:solidFill>
              <a:schemeClr val="bg1"/>
            </a:solidFill>
          </a:ln>
          <a:effectLst>
            <a:outerShdw blurRad="127000" dist="127000" dir="2700000" algn="tl" rotWithShape="0">
              <a:prstClr val="black">
                <a:alpha val="15000"/>
              </a:prstClr>
            </a:outerShdw>
          </a:effectLst>
        </p:spPr>
      </p:pic>
    </p:spTree>
    <p:extLst>
      <p:ext uri="{BB962C8B-B14F-4D97-AF65-F5344CB8AC3E}">
        <p14:creationId xmlns:p14="http://schemas.microsoft.com/office/powerpoint/2010/main" val="26193114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58AC0F-3C1F-A8DA-7980-567E2BE46A2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D7FE0D4-F9DD-2321-6AA8-C6F97E932EDF}"/>
              </a:ext>
            </a:extLst>
          </p:cNvPr>
          <p:cNvSpPr>
            <a:spLocks noGrp="1"/>
          </p:cNvSpPr>
          <p:nvPr>
            <p:ph type="title"/>
          </p:nvPr>
        </p:nvSpPr>
        <p:spPr>
          <a:xfrm>
            <a:off x="571501" y="472190"/>
            <a:ext cx="11049000" cy="553998"/>
          </a:xfrm>
        </p:spPr>
        <p:txBody>
          <a:bodyPr/>
          <a:lstStyle/>
          <a:p>
            <a:pPr algn="ctr"/>
            <a:r>
              <a:rPr lang="en-US" noProof="0" dirty="0"/>
              <a:t>AI </a:t>
            </a:r>
            <a:r>
              <a:rPr lang="en-US" noProof="0" dirty="0">
                <a:gradFill>
                  <a:gsLst>
                    <a:gs pos="44000">
                      <a:srgbClr val="0078D4"/>
                    </a:gs>
                    <a:gs pos="0">
                      <a:srgbClr val="C03BC4"/>
                    </a:gs>
                  </a:gsLst>
                  <a:path path="circle">
                    <a:fillToRect l="100000" t="100000"/>
                  </a:path>
                </a:gradFill>
              </a:rPr>
              <a:t>Retail </a:t>
            </a:r>
            <a:r>
              <a:rPr lang="en-US" noProof="0" dirty="0"/>
              <a:t>use cases</a:t>
            </a:r>
          </a:p>
        </p:txBody>
      </p:sp>
      <p:pic>
        <p:nvPicPr>
          <p:cNvPr id="3" name="Picture 2">
            <a:extLst>
              <a:ext uri="{FF2B5EF4-FFF2-40B4-BE49-F238E27FC236}">
                <a16:creationId xmlns:a16="http://schemas.microsoft.com/office/drawing/2014/main" id="{B376A401-CB2E-05D3-95B8-D8686A52A2AD}"/>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739756" y="1795624"/>
            <a:ext cx="10712489" cy="4132218"/>
          </a:xfrm>
          <a:prstGeom prst="roundRect">
            <a:avLst>
              <a:gd name="adj" fmla="val 3194"/>
            </a:avLst>
          </a:prstGeom>
          <a:ln w="6350">
            <a:solidFill>
              <a:schemeClr val="bg1">
                <a:lumMod val="95000"/>
              </a:schemeClr>
            </a:solidFill>
          </a:ln>
          <a:effectLst>
            <a:outerShdw blurRad="127000" dist="127000" dir="2700000" algn="tl" rotWithShape="0">
              <a:prstClr val="black">
                <a:alpha val="20000"/>
              </a:prstClr>
            </a:outerShdw>
          </a:effectLst>
        </p:spPr>
      </p:pic>
      <p:sp>
        <p:nvSpPr>
          <p:cNvPr id="7" name="Rectangle: Rounded Corners 78">
            <a:extLst>
              <a:ext uri="{FF2B5EF4-FFF2-40B4-BE49-F238E27FC236}">
                <a16:creationId xmlns:a16="http://schemas.microsoft.com/office/drawing/2014/main" id="{00F9BBA2-47DE-A890-3B05-0BC754684F2D}"/>
              </a:ext>
              <a:ext uri="{C183D7F6-B498-43B3-948B-1728B52AA6E4}">
                <adec:decorative xmlns:adec="http://schemas.microsoft.com/office/drawing/2017/decorative" val="1"/>
              </a:ext>
            </a:extLst>
          </p:cNvPr>
          <p:cNvSpPr/>
          <p:nvPr/>
        </p:nvSpPr>
        <p:spPr bwMode="auto">
          <a:xfrm>
            <a:off x="986083" y="3716567"/>
            <a:ext cx="3200400" cy="1828800"/>
          </a:xfrm>
          <a:prstGeom prst="roundRect">
            <a:avLst>
              <a:gd name="adj" fmla="val 679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9" name="Rectangle: Rounded Corners 81">
            <a:extLst>
              <a:ext uri="{FF2B5EF4-FFF2-40B4-BE49-F238E27FC236}">
                <a16:creationId xmlns:a16="http://schemas.microsoft.com/office/drawing/2014/main" id="{15CE6BFA-5CFF-3C02-DC6B-D2C5BF673221}"/>
              </a:ext>
              <a:ext uri="{C183D7F6-B498-43B3-948B-1728B52AA6E4}">
                <adec:decorative xmlns:adec="http://schemas.microsoft.com/office/drawing/2017/decorative" val="1"/>
              </a:ext>
            </a:extLst>
          </p:cNvPr>
          <p:cNvSpPr/>
          <p:nvPr/>
        </p:nvSpPr>
        <p:spPr bwMode="auto">
          <a:xfrm>
            <a:off x="4495800" y="3718108"/>
            <a:ext cx="3200400" cy="1828800"/>
          </a:xfrm>
          <a:prstGeom prst="roundRect">
            <a:avLst>
              <a:gd name="adj" fmla="val 6053"/>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10" name="Rectangle: Rounded Corners 83">
            <a:extLst>
              <a:ext uri="{FF2B5EF4-FFF2-40B4-BE49-F238E27FC236}">
                <a16:creationId xmlns:a16="http://schemas.microsoft.com/office/drawing/2014/main" id="{BDF6B994-BDEC-2037-AAF2-3085D8CDAD22}"/>
              </a:ext>
              <a:ext uri="{C183D7F6-B498-43B3-948B-1728B52AA6E4}">
                <adec:decorative xmlns:adec="http://schemas.microsoft.com/office/drawing/2017/decorative" val="1"/>
              </a:ext>
            </a:extLst>
          </p:cNvPr>
          <p:cNvSpPr/>
          <p:nvPr/>
        </p:nvSpPr>
        <p:spPr bwMode="auto">
          <a:xfrm>
            <a:off x="8001000" y="3716567"/>
            <a:ext cx="3200400" cy="1828800"/>
          </a:xfrm>
          <a:prstGeom prst="roundRect">
            <a:avLst>
              <a:gd name="adj" fmla="val 5310"/>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11" name="TextBox 22">
            <a:extLst>
              <a:ext uri="{FF2B5EF4-FFF2-40B4-BE49-F238E27FC236}">
                <a16:creationId xmlns:a16="http://schemas.microsoft.com/office/drawing/2014/main" id="{E8664ED7-CBB1-5D14-FF4C-2EC26ABCB214}"/>
              </a:ext>
            </a:extLst>
          </p:cNvPr>
          <p:cNvSpPr txBox="1"/>
          <p:nvPr/>
        </p:nvSpPr>
        <p:spPr>
          <a:xfrm>
            <a:off x="1444752" y="3886687"/>
            <a:ext cx="2283061" cy="276999"/>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w="3175">
                  <a:noFill/>
                </a:ln>
                <a:gradFill>
                  <a:gsLst>
                    <a:gs pos="37000">
                      <a:srgbClr val="0078D4"/>
                    </a:gs>
                    <a:gs pos="0">
                      <a:srgbClr val="C03BC4"/>
                    </a:gs>
                  </a:gsLst>
                  <a:path path="circle">
                    <a:fillToRect l="100000" t="100000"/>
                  </a:path>
                </a:gradFill>
                <a:effectLst/>
                <a:uLnTx/>
                <a:uFillTx/>
                <a:latin typeface="Segoe UI Semibold"/>
                <a:ea typeface="+mn-ea"/>
                <a:cs typeface="Segoe UI" pitchFamily="34" charset="0"/>
              </a:rPr>
              <a:t>Overview and KPIs</a:t>
            </a:r>
          </a:p>
        </p:txBody>
      </p:sp>
      <p:sp>
        <p:nvSpPr>
          <p:cNvPr id="12" name="TextBox 23">
            <a:extLst>
              <a:ext uri="{FF2B5EF4-FFF2-40B4-BE49-F238E27FC236}">
                <a16:creationId xmlns:a16="http://schemas.microsoft.com/office/drawing/2014/main" id="{C6F5FA3E-2DEC-1989-4B5B-AC582FA8E881}"/>
              </a:ext>
            </a:extLst>
          </p:cNvPr>
          <p:cNvSpPr txBox="1"/>
          <p:nvPr/>
        </p:nvSpPr>
        <p:spPr>
          <a:xfrm>
            <a:off x="1210100" y="4234841"/>
            <a:ext cx="2752367" cy="1166345"/>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11111"/>
                </a:solidFill>
                <a:effectLst/>
                <a:uLnTx/>
                <a:uFillTx/>
                <a:latin typeface="Segoe UI "/>
                <a:ea typeface="Roboto"/>
                <a:cs typeface="Roboto"/>
              </a:rPr>
              <a:t>KPIs play a crucial role in the sector, providing a compass to navigate toward success. Let's dive into KPIs for Retail and how AI can assist.</a:t>
            </a:r>
            <a:endParaRPr kumimoji="0" lang="en-US" sz="14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TextBox 25">
            <a:extLst>
              <a:ext uri="{FF2B5EF4-FFF2-40B4-BE49-F238E27FC236}">
                <a16:creationId xmlns:a16="http://schemas.microsoft.com/office/drawing/2014/main" id="{D03B9D5E-A340-C2A8-0255-8902FD701EAB}"/>
              </a:ext>
            </a:extLst>
          </p:cNvPr>
          <p:cNvSpPr txBox="1"/>
          <p:nvPr/>
        </p:nvSpPr>
        <p:spPr>
          <a:xfrm>
            <a:off x="4954469" y="3888228"/>
            <a:ext cx="2283061" cy="276999"/>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w="3175">
                  <a:noFill/>
                </a:ln>
                <a:gradFill>
                  <a:gsLst>
                    <a:gs pos="37000">
                      <a:srgbClr val="0078D4"/>
                    </a:gs>
                    <a:gs pos="0">
                      <a:srgbClr val="C03BC4"/>
                    </a:gs>
                  </a:gsLst>
                  <a:path path="circle">
                    <a:fillToRect l="100000" t="100000"/>
                  </a:path>
                </a:gradFill>
                <a:effectLst/>
                <a:uLnTx/>
                <a:uFillTx/>
                <a:latin typeface="Segoe UI Semibold"/>
                <a:ea typeface="+mn-ea"/>
                <a:cs typeface="Segoe UI" pitchFamily="34" charset="0"/>
              </a:rPr>
              <a:t>Use case by role</a:t>
            </a:r>
          </a:p>
        </p:txBody>
      </p:sp>
      <p:sp>
        <p:nvSpPr>
          <p:cNvPr id="22" name="TextBox 26">
            <a:extLst>
              <a:ext uri="{FF2B5EF4-FFF2-40B4-BE49-F238E27FC236}">
                <a16:creationId xmlns:a16="http://schemas.microsoft.com/office/drawing/2014/main" id="{CC78C69F-21E0-8752-130E-8D7BDC192AC8}"/>
              </a:ext>
            </a:extLst>
          </p:cNvPr>
          <p:cNvSpPr txBox="1"/>
          <p:nvPr/>
        </p:nvSpPr>
        <p:spPr>
          <a:xfrm>
            <a:off x="4724400" y="4236382"/>
            <a:ext cx="2743200" cy="929357"/>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AI can simplify the tasks that Retail pros perform every day. Look at key use cases and how Copilot and agents can assist along the way.</a:t>
            </a:r>
          </a:p>
        </p:txBody>
      </p:sp>
      <p:sp>
        <p:nvSpPr>
          <p:cNvPr id="23" name="TextBox 28">
            <a:extLst>
              <a:ext uri="{FF2B5EF4-FFF2-40B4-BE49-F238E27FC236}">
                <a16:creationId xmlns:a16="http://schemas.microsoft.com/office/drawing/2014/main" id="{019560C5-D268-5131-6CA7-8319F4780E86}"/>
              </a:ext>
            </a:extLst>
          </p:cNvPr>
          <p:cNvSpPr txBox="1"/>
          <p:nvPr/>
        </p:nvSpPr>
        <p:spPr>
          <a:xfrm>
            <a:off x="8197423" y="3886687"/>
            <a:ext cx="2807554" cy="276999"/>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w="3175">
                  <a:noFill/>
                </a:ln>
                <a:gradFill>
                  <a:gsLst>
                    <a:gs pos="37000">
                      <a:srgbClr val="0078D4"/>
                    </a:gs>
                    <a:gs pos="0">
                      <a:srgbClr val="C03BC4"/>
                    </a:gs>
                  </a:gsLst>
                  <a:path path="circle">
                    <a:fillToRect l="100000" t="100000"/>
                  </a:path>
                </a:gradFill>
                <a:effectLst/>
                <a:uLnTx/>
                <a:uFillTx/>
                <a:latin typeface="Segoe UI Semibold"/>
                <a:ea typeface="+mn-ea"/>
                <a:cs typeface="Segoe UI" pitchFamily="34" charset="0"/>
              </a:rPr>
              <a:t>Day in the life</a:t>
            </a:r>
          </a:p>
        </p:txBody>
      </p:sp>
      <p:sp>
        <p:nvSpPr>
          <p:cNvPr id="24" name="TextBox 29">
            <a:extLst>
              <a:ext uri="{FF2B5EF4-FFF2-40B4-BE49-F238E27FC236}">
                <a16:creationId xmlns:a16="http://schemas.microsoft.com/office/drawing/2014/main" id="{AE35EF6F-1A97-65F2-EC64-66A2E2F862EB}"/>
              </a:ext>
            </a:extLst>
          </p:cNvPr>
          <p:cNvSpPr txBox="1"/>
          <p:nvPr/>
        </p:nvSpPr>
        <p:spPr>
          <a:xfrm>
            <a:off x="8301778" y="4234841"/>
            <a:ext cx="2598844" cy="455381"/>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See how real-life Retail pros are using AI in their day-to-day.</a:t>
            </a:r>
          </a:p>
        </p:txBody>
      </p:sp>
    </p:spTree>
    <p:extLst>
      <p:ext uri="{BB962C8B-B14F-4D97-AF65-F5344CB8AC3E}">
        <p14:creationId xmlns:p14="http://schemas.microsoft.com/office/powerpoint/2010/main" val="20075042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B84665-738B-C50A-8F63-9202A88342A9}"/>
            </a:ext>
          </a:extLst>
        </p:cNvPr>
        <p:cNvGrpSpPr/>
        <p:nvPr/>
      </p:nvGrpSpPr>
      <p:grpSpPr>
        <a:xfrm>
          <a:off x="0" y="0"/>
          <a:ext cx="0" cy="0"/>
          <a:chOff x="0" y="0"/>
          <a:chExt cx="0" cy="0"/>
        </a:xfrm>
      </p:grpSpPr>
      <p:sp>
        <p:nvSpPr>
          <p:cNvPr id="37" name="Rectangle: Rounded Corners 81">
            <a:extLst>
              <a:ext uri="{FF2B5EF4-FFF2-40B4-BE49-F238E27FC236}">
                <a16:creationId xmlns:a16="http://schemas.microsoft.com/office/drawing/2014/main" id="{E298FCB0-0E7F-2F18-DC9F-BE199EFE4DA8}"/>
              </a:ext>
              <a:ext uri="{C183D7F6-B498-43B3-948B-1728B52AA6E4}">
                <adec:decorative xmlns:adec="http://schemas.microsoft.com/office/drawing/2017/decorative" val="1"/>
              </a:ext>
            </a:extLst>
          </p:cNvPr>
          <p:cNvSpPr>
            <a:spLocks/>
          </p:cNvSpPr>
          <p:nvPr/>
        </p:nvSpPr>
        <p:spPr bwMode="auto">
          <a:xfrm>
            <a:off x="588263" y="4288608"/>
            <a:ext cx="11017250" cy="2074091"/>
          </a:xfrm>
          <a:prstGeom prst="roundRect">
            <a:avLst>
              <a:gd name="adj" fmla="val 5449"/>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39" name="Rounded Rectangle 53">
            <a:extLst>
              <a:ext uri="{FF2B5EF4-FFF2-40B4-BE49-F238E27FC236}">
                <a16:creationId xmlns:a16="http://schemas.microsoft.com/office/drawing/2014/main" id="{D65FCF49-1EFA-7060-D519-93CFA6686E77}"/>
              </a:ext>
            </a:extLst>
          </p:cNvPr>
          <p:cNvSpPr>
            <a:spLocks/>
          </p:cNvSpPr>
          <p:nvPr/>
        </p:nvSpPr>
        <p:spPr bwMode="auto">
          <a:xfrm>
            <a:off x="3170731" y="4361760"/>
            <a:ext cx="8361632" cy="1927787"/>
          </a:xfrm>
          <a:prstGeom prst="roundRect">
            <a:avLst>
              <a:gd name="adj" fmla="val 4659"/>
            </a:avLst>
          </a:prstGeom>
          <a:solidFill>
            <a:srgbClr val="FFFFFF">
              <a:alpha val="85098"/>
            </a:srgbClr>
          </a:solidFill>
          <a:ln w="6350" cap="flat" cmpd="sng" algn="ctr">
            <a:noFill/>
            <a:prstDash val="solid"/>
            <a:headEnd type="none" w="med" len="med"/>
            <a:tailEnd type="none" w="med" len="med"/>
          </a:ln>
          <a:effectLst>
            <a:outerShdw blurRad="152400" sx="102000" sy="102000" algn="ctr" rotWithShape="0">
              <a:prstClr val="black">
                <a:alpha val="8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54" name="Rounded Rectangle 53">
            <a:extLst>
              <a:ext uri="{FF2B5EF4-FFF2-40B4-BE49-F238E27FC236}">
                <a16:creationId xmlns:a16="http://schemas.microsoft.com/office/drawing/2014/main" id="{710DDB50-CFB4-823D-CC83-F649D4FA1103}"/>
              </a:ext>
            </a:extLst>
          </p:cNvPr>
          <p:cNvSpPr/>
          <p:nvPr/>
        </p:nvSpPr>
        <p:spPr bwMode="auto">
          <a:xfrm>
            <a:off x="588263" y="1225509"/>
            <a:ext cx="5310887" cy="1386124"/>
          </a:xfrm>
          <a:prstGeom prst="roundRect">
            <a:avLst>
              <a:gd name="adj" fmla="val 6635"/>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EF378983-C939-9E2C-399F-FC3BB50C39AF}"/>
              </a:ext>
            </a:extLst>
          </p:cNvPr>
          <p:cNvSpPr>
            <a:spLocks noGrp="1"/>
          </p:cNvSpPr>
          <p:nvPr>
            <p:ph type="title"/>
          </p:nvPr>
        </p:nvSpPr>
        <p:spPr>
          <a:xfrm>
            <a:off x="588263" y="457200"/>
            <a:ext cx="11018520" cy="553998"/>
          </a:xfrm>
        </p:spPr>
        <p:txBody>
          <a:bodyPr/>
          <a:lstStyle/>
          <a:p>
            <a:r>
              <a:rPr lang="en-US" noProof="0" dirty="0">
                <a:cs typeface="Segoe UI"/>
              </a:rPr>
              <a:t>AI use cases for </a:t>
            </a:r>
            <a:r>
              <a:rPr lang="en-US" noProof="0" dirty="0">
                <a:gradFill flip="none" rotWithShape="1">
                  <a:gsLst>
                    <a:gs pos="50000">
                      <a:srgbClr val="0078D4"/>
                    </a:gs>
                    <a:gs pos="0">
                      <a:srgbClr val="C03BC4"/>
                    </a:gs>
                  </a:gsLst>
                  <a:lin ang="13500000" scaled="1"/>
                  <a:tileRect/>
                </a:gradFill>
              </a:rPr>
              <a:t>Retail</a:t>
            </a:r>
          </a:p>
        </p:txBody>
      </p:sp>
      <p:sp>
        <p:nvSpPr>
          <p:cNvPr id="5" name="TextBox 4">
            <a:extLst>
              <a:ext uri="{FF2B5EF4-FFF2-40B4-BE49-F238E27FC236}">
                <a16:creationId xmlns:a16="http://schemas.microsoft.com/office/drawing/2014/main" id="{65785B40-C680-B235-29C8-11F1FB7646BD}"/>
              </a:ext>
            </a:extLst>
          </p:cNvPr>
          <p:cNvSpPr txBox="1">
            <a:spLocks/>
          </p:cNvSpPr>
          <p:nvPr/>
        </p:nvSpPr>
        <p:spPr>
          <a:xfrm>
            <a:off x="739970" y="1841573"/>
            <a:ext cx="1092317" cy="430887"/>
          </a:xfrm>
          <a:prstGeom prst="rect">
            <a:avLst/>
          </a:prstGeom>
          <a:noFill/>
        </p:spPr>
        <p:txBody>
          <a:bodyPr wrap="square" lIns="0" tIns="0" rIns="0" bIns="0" anchor="ctr">
            <a:spAutoFit/>
          </a:body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400" b="0" i="0" u="none" strike="noStrike" kern="1200" cap="none" spc="0" normalizeH="0" baseline="0" noProof="0">
                <a:ln>
                  <a:noFill/>
                </a:ln>
                <a:gradFill flip="none" rotWithShape="1">
                  <a:gsLst>
                    <a:gs pos="55000">
                      <a:srgbClr val="0078D4"/>
                    </a:gs>
                    <a:gs pos="0">
                      <a:srgbClr val="C03BC4"/>
                    </a:gs>
                  </a:gsLst>
                  <a:lin ang="13500000" scaled="1"/>
                  <a:tileRect/>
                </a:gradFill>
                <a:effectLst/>
                <a:uLnTx/>
                <a:uFillTx/>
                <a:latin typeface="Segoe UI Semibold"/>
                <a:ea typeface="Segoe UI" pitchFamily="34" charset="0"/>
                <a:cs typeface="Segoe UI Semibold" panose="020B0702040204020203" pitchFamily="34" charset="0"/>
              </a:rPr>
              <a:t>Goals and challenges</a:t>
            </a:r>
          </a:p>
        </p:txBody>
      </p:sp>
      <p:sp>
        <p:nvSpPr>
          <p:cNvPr id="6" name="Text Placeholder 5">
            <a:extLst>
              <a:ext uri="{FF2B5EF4-FFF2-40B4-BE49-F238E27FC236}">
                <a16:creationId xmlns:a16="http://schemas.microsoft.com/office/drawing/2014/main" id="{7F8B7A8F-70AE-7993-C630-B90BBA43FDD4}"/>
              </a:ext>
            </a:extLst>
          </p:cNvPr>
          <p:cNvSpPr txBox="1">
            <a:spLocks/>
          </p:cNvSpPr>
          <p:nvPr/>
        </p:nvSpPr>
        <p:spPr>
          <a:xfrm>
            <a:off x="2218000" y="1417376"/>
            <a:ext cx="3569133" cy="1002390"/>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582780" rtl="0" eaLnBrk="1" fontAlgn="auto" latinLnBrk="0" hangingPunct="1">
              <a:lnSpc>
                <a:spcPct val="110000"/>
              </a:lnSpc>
              <a:spcBef>
                <a:spcPct val="0"/>
              </a:spcBef>
              <a:spcAft>
                <a:spcPts val="300"/>
              </a:spcAft>
              <a:buClrTx/>
              <a:buSzTx/>
              <a:buFont typeface="Wingdings"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The Retail industry plays a significant role in the global economy and is impacted by spending patterns, economic conditions, and global inflation. Focus is on improving inventory management and efficiency, optimizing their supply chain, analyzing and monitoring inventory and forecasts, and hiring and retaining frontline workers. </a:t>
            </a:r>
            <a:endParaRPr kumimoji="0" lang="en-US" sz="105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p:txBody>
      </p:sp>
      <p:sp>
        <p:nvSpPr>
          <p:cNvPr id="8" name="Freeform 27">
            <a:extLst>
              <a:ext uri="{FF2B5EF4-FFF2-40B4-BE49-F238E27FC236}">
                <a16:creationId xmlns:a16="http://schemas.microsoft.com/office/drawing/2014/main" id="{6ED3A0A4-6009-B10C-EAEF-EB8D79F8C28E}"/>
              </a:ext>
              <a:ext uri="{C183D7F6-B498-43B3-948B-1728B52AA6E4}">
                <adec:decorative xmlns:adec="http://schemas.microsoft.com/office/drawing/2017/decorative" val="1"/>
              </a:ext>
            </a:extLst>
          </p:cNvPr>
          <p:cNvSpPr/>
          <p:nvPr/>
        </p:nvSpPr>
        <p:spPr bwMode="auto">
          <a:xfrm rot="5400000">
            <a:off x="1423800" y="1904855"/>
            <a:ext cx="1231784" cy="27432"/>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15" name="Graphic 120" descr="Icon of an arrow hitting the bullseye">
            <a:extLst>
              <a:ext uri="{FF2B5EF4-FFF2-40B4-BE49-F238E27FC236}">
                <a16:creationId xmlns:a16="http://schemas.microsoft.com/office/drawing/2014/main" id="{3BC7BFD7-4B93-EA39-58A1-DDE073EF2F0B}"/>
              </a:ext>
            </a:extLst>
          </p:cNvPr>
          <p:cNvSpPr>
            <a:spLocks noChangeAspect="1"/>
          </p:cNvSpPr>
          <p:nvPr/>
        </p:nvSpPr>
        <p:spPr>
          <a:xfrm>
            <a:off x="739970" y="1430093"/>
            <a:ext cx="274320" cy="274320"/>
          </a:xfrm>
          <a:custGeom>
            <a:avLst/>
            <a:gdLst>
              <a:gd name="connsiteX0" fmla="*/ 95269 w 190538"/>
              <a:gd name="connsiteY0" fmla="*/ 0 h 190538"/>
              <a:gd name="connsiteX1" fmla="*/ 127911 w 190538"/>
              <a:gd name="connsiteY1" fmla="*/ 5734 h 190538"/>
              <a:gd name="connsiteX2" fmla="*/ 116529 w 190538"/>
              <a:gd name="connsiteY2" fmla="*/ 17107 h 190538"/>
              <a:gd name="connsiteX3" fmla="*/ 17136 w 190538"/>
              <a:gd name="connsiteY3" fmla="*/ 74002 h 190538"/>
              <a:gd name="connsiteX4" fmla="*/ 74031 w 190538"/>
              <a:gd name="connsiteY4" fmla="*/ 173395 h 190538"/>
              <a:gd name="connsiteX5" fmla="*/ 173425 w 190538"/>
              <a:gd name="connsiteY5" fmla="*/ 116500 h 190538"/>
              <a:gd name="connsiteX6" fmla="*/ 173431 w 190538"/>
              <a:gd name="connsiteY6" fmla="*/ 74028 h 190538"/>
              <a:gd name="connsiteX7" fmla="*/ 184804 w 190538"/>
              <a:gd name="connsiteY7" fmla="*/ 62655 h 190538"/>
              <a:gd name="connsiteX8" fmla="*/ 190538 w 190538"/>
              <a:gd name="connsiteY8" fmla="*/ 95269 h 190538"/>
              <a:gd name="connsiteX9" fmla="*/ 95269 w 190538"/>
              <a:gd name="connsiteY9" fmla="*/ 190538 h 190538"/>
              <a:gd name="connsiteX10" fmla="*/ 0 w 190538"/>
              <a:gd name="connsiteY10" fmla="*/ 95269 h 190538"/>
              <a:gd name="connsiteX11" fmla="*/ 95269 w 190538"/>
              <a:gd name="connsiteY11" fmla="*/ 0 h 190538"/>
              <a:gd name="connsiteX12" fmla="*/ 95269 w 190538"/>
              <a:gd name="connsiteY12" fmla="*/ 38119 h 190538"/>
              <a:gd name="connsiteX13" fmla="*/ 109576 w 190538"/>
              <a:gd name="connsiteY13" fmla="*/ 39929 h 190538"/>
              <a:gd name="connsiteX14" fmla="*/ 109576 w 190538"/>
              <a:gd name="connsiteY14" fmla="*/ 54854 h 190538"/>
              <a:gd name="connsiteX15" fmla="*/ 54872 w 190538"/>
              <a:gd name="connsiteY15" fmla="*/ 80967 h 190538"/>
              <a:gd name="connsiteX16" fmla="*/ 80983 w 190538"/>
              <a:gd name="connsiteY16" fmla="*/ 135671 h 190538"/>
              <a:gd name="connsiteX17" fmla="*/ 135688 w 190538"/>
              <a:gd name="connsiteY17" fmla="*/ 109558 h 190538"/>
              <a:gd name="connsiteX18" fmla="*/ 135693 w 190538"/>
              <a:gd name="connsiteY18" fmla="*/ 80982 h 190538"/>
              <a:gd name="connsiteX19" fmla="*/ 150619 w 190538"/>
              <a:gd name="connsiteY19" fmla="*/ 80982 h 190538"/>
              <a:gd name="connsiteX20" fmla="*/ 109571 w 190538"/>
              <a:gd name="connsiteY20" fmla="*/ 150605 h 190538"/>
              <a:gd name="connsiteX21" fmla="*/ 39948 w 190538"/>
              <a:gd name="connsiteY21" fmla="*/ 109557 h 190538"/>
              <a:gd name="connsiteX22" fmla="*/ 80996 w 190538"/>
              <a:gd name="connsiteY22" fmla="*/ 39934 h 190538"/>
              <a:gd name="connsiteX23" fmla="*/ 95288 w 190538"/>
              <a:gd name="connsiteY23" fmla="*/ 38119 h 190538"/>
              <a:gd name="connsiteX24" fmla="*/ 114319 w 190538"/>
              <a:gd name="connsiteY24" fmla="*/ 95269 h 190538"/>
              <a:gd name="connsiteX25" fmla="*/ 95263 w 190538"/>
              <a:gd name="connsiteY25" fmla="*/ 114313 h 190538"/>
              <a:gd name="connsiteX26" fmla="*/ 76219 w 190538"/>
              <a:gd name="connsiteY26" fmla="*/ 95257 h 190538"/>
              <a:gd name="connsiteX27" fmla="*/ 95275 w 190538"/>
              <a:gd name="connsiteY27" fmla="*/ 76213 h 190538"/>
              <a:gd name="connsiteX28" fmla="*/ 102727 w 190538"/>
              <a:gd name="connsiteY28" fmla="*/ 77734 h 190538"/>
              <a:gd name="connsiteX29" fmla="*/ 119110 w 190538"/>
              <a:gd name="connsiteY29" fmla="*/ 61351 h 190538"/>
              <a:gd name="connsiteX30" fmla="*/ 119101 w 190538"/>
              <a:gd name="connsiteY30" fmla="*/ 30975 h 190538"/>
              <a:gd name="connsiteX31" fmla="*/ 121196 w 190538"/>
              <a:gd name="connsiteY31" fmla="*/ 25927 h 190538"/>
              <a:gd name="connsiteX32" fmla="*/ 145009 w 190538"/>
              <a:gd name="connsiteY32" fmla="*/ 2115 h 190538"/>
              <a:gd name="connsiteX33" fmla="*/ 155112 w 190538"/>
              <a:gd name="connsiteY33" fmla="*/ 2121 h 190538"/>
              <a:gd name="connsiteX34" fmla="*/ 157201 w 190538"/>
              <a:gd name="connsiteY34" fmla="*/ 7163 h 190538"/>
              <a:gd name="connsiteX35" fmla="*/ 157201 w 190538"/>
              <a:gd name="connsiteY35" fmla="*/ 33357 h 190538"/>
              <a:gd name="connsiteX36" fmla="*/ 183394 w 190538"/>
              <a:gd name="connsiteY36" fmla="*/ 33357 h 190538"/>
              <a:gd name="connsiteX37" fmla="*/ 190531 w 190538"/>
              <a:gd name="connsiteY37" fmla="*/ 40507 h 190538"/>
              <a:gd name="connsiteX38" fmla="*/ 188443 w 190538"/>
              <a:gd name="connsiteY38" fmla="*/ 45549 h 190538"/>
              <a:gd name="connsiteX39" fmla="*/ 164630 w 190538"/>
              <a:gd name="connsiteY39" fmla="*/ 69361 h 190538"/>
              <a:gd name="connsiteX40" fmla="*/ 159582 w 190538"/>
              <a:gd name="connsiteY40" fmla="*/ 71457 h 190538"/>
              <a:gd name="connsiteX41" fmla="*/ 129197 w 190538"/>
              <a:gd name="connsiteY41" fmla="*/ 71457 h 190538"/>
              <a:gd name="connsiteX42" fmla="*/ 112814 w 190538"/>
              <a:gd name="connsiteY42" fmla="*/ 87840 h 190538"/>
              <a:gd name="connsiteX43" fmla="*/ 114319 w 190538"/>
              <a:gd name="connsiteY43" fmla="*/ 95269 h 190538"/>
              <a:gd name="connsiteX44" fmla="*/ 156620 w 190538"/>
              <a:gd name="connsiteY44" fmla="*/ 57169 h 190538"/>
              <a:gd name="connsiteX45" fmla="*/ 166145 w 190538"/>
              <a:gd name="connsiteY45" fmla="*/ 47644 h 190538"/>
              <a:gd name="connsiteX46" fmla="*/ 150047 w 190538"/>
              <a:gd name="connsiteY46" fmla="*/ 47644 h 190538"/>
              <a:gd name="connsiteX47" fmla="*/ 142904 w 190538"/>
              <a:gd name="connsiteY47" fmla="*/ 40500 h 190538"/>
              <a:gd name="connsiteX48" fmla="*/ 142904 w 190538"/>
              <a:gd name="connsiteY48" fmla="*/ 24403 h 190538"/>
              <a:gd name="connsiteX49" fmla="*/ 133388 w 190538"/>
              <a:gd name="connsiteY49" fmla="*/ 33928 h 190538"/>
              <a:gd name="connsiteX50" fmla="*/ 133388 w 190538"/>
              <a:gd name="connsiteY50" fmla="*/ 56607 h 190538"/>
              <a:gd name="connsiteX51" fmla="*/ 133960 w 190538"/>
              <a:gd name="connsiteY51" fmla="*/ 57169 h 190538"/>
              <a:gd name="connsiteX52" fmla="*/ 156629 w 190538"/>
              <a:gd name="connsiteY52" fmla="*/ 57169 h 19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90538" h="190538">
                <a:moveTo>
                  <a:pt x="95269" y="0"/>
                </a:moveTo>
                <a:cubicBezTo>
                  <a:pt x="106737" y="0"/>
                  <a:pt x="117729" y="2029"/>
                  <a:pt x="127911" y="5734"/>
                </a:cubicBezTo>
                <a:lnTo>
                  <a:pt x="116529" y="17107"/>
                </a:lnTo>
                <a:cubicBezTo>
                  <a:pt x="73371" y="5372"/>
                  <a:pt x="28871" y="30844"/>
                  <a:pt x="17136" y="74002"/>
                </a:cubicBezTo>
                <a:cubicBezTo>
                  <a:pt x="5400" y="117160"/>
                  <a:pt x="30873" y="161659"/>
                  <a:pt x="74031" y="173395"/>
                </a:cubicBezTo>
                <a:cubicBezTo>
                  <a:pt x="117189" y="185131"/>
                  <a:pt x="161689" y="159658"/>
                  <a:pt x="173425" y="116500"/>
                </a:cubicBezTo>
                <a:cubicBezTo>
                  <a:pt x="177205" y="102596"/>
                  <a:pt x="177208" y="87934"/>
                  <a:pt x="173431" y="74028"/>
                </a:cubicBezTo>
                <a:lnTo>
                  <a:pt x="184804" y="62655"/>
                </a:lnTo>
                <a:cubicBezTo>
                  <a:pt x="188608" y="73108"/>
                  <a:pt x="190549" y="84146"/>
                  <a:pt x="190538" y="95269"/>
                </a:cubicBezTo>
                <a:cubicBezTo>
                  <a:pt x="190538" y="147885"/>
                  <a:pt x="147885" y="190538"/>
                  <a:pt x="95269" y="190538"/>
                </a:cubicBezTo>
                <a:cubicBezTo>
                  <a:pt x="42653" y="190538"/>
                  <a:pt x="0" y="147885"/>
                  <a:pt x="0" y="95269"/>
                </a:cubicBezTo>
                <a:cubicBezTo>
                  <a:pt x="0" y="42653"/>
                  <a:pt x="42653" y="0"/>
                  <a:pt x="95269" y="0"/>
                </a:cubicBezTo>
                <a:close/>
                <a:moveTo>
                  <a:pt x="95269" y="38119"/>
                </a:moveTo>
                <a:cubicBezTo>
                  <a:pt x="100095" y="38117"/>
                  <a:pt x="104902" y="38725"/>
                  <a:pt x="109576" y="39929"/>
                </a:cubicBezTo>
                <a:lnTo>
                  <a:pt x="109576" y="54854"/>
                </a:lnTo>
                <a:cubicBezTo>
                  <a:pt x="87259" y="46959"/>
                  <a:pt x="62767" y="58650"/>
                  <a:pt x="54872" y="80967"/>
                </a:cubicBezTo>
                <a:cubicBezTo>
                  <a:pt x="46976" y="103283"/>
                  <a:pt x="58667" y="127775"/>
                  <a:pt x="80983" y="135671"/>
                </a:cubicBezTo>
                <a:cubicBezTo>
                  <a:pt x="103301" y="143567"/>
                  <a:pt x="127792" y="131876"/>
                  <a:pt x="135688" y="109558"/>
                </a:cubicBezTo>
                <a:cubicBezTo>
                  <a:pt x="138958" y="100313"/>
                  <a:pt x="138960" y="90227"/>
                  <a:pt x="135693" y="80982"/>
                </a:cubicBezTo>
                <a:lnTo>
                  <a:pt x="150619" y="80982"/>
                </a:lnTo>
                <a:cubicBezTo>
                  <a:pt x="158509" y="111543"/>
                  <a:pt x="140132" y="142713"/>
                  <a:pt x="109571" y="150605"/>
                </a:cubicBezTo>
                <a:cubicBezTo>
                  <a:pt x="79010" y="158495"/>
                  <a:pt x="47839" y="140118"/>
                  <a:pt x="39948" y="109557"/>
                </a:cubicBezTo>
                <a:cubicBezTo>
                  <a:pt x="32058" y="78996"/>
                  <a:pt x="50435" y="47825"/>
                  <a:pt x="80996" y="39934"/>
                </a:cubicBezTo>
                <a:cubicBezTo>
                  <a:pt x="85664" y="38728"/>
                  <a:pt x="90467" y="38119"/>
                  <a:pt x="95288" y="38119"/>
                </a:cubicBezTo>
                <a:close/>
                <a:moveTo>
                  <a:pt x="114319" y="95269"/>
                </a:moveTo>
                <a:cubicBezTo>
                  <a:pt x="114315" y="105790"/>
                  <a:pt x="105784" y="114316"/>
                  <a:pt x="95263" y="114313"/>
                </a:cubicBezTo>
                <a:cubicBezTo>
                  <a:pt x="84742" y="114310"/>
                  <a:pt x="76216" y="105778"/>
                  <a:pt x="76219" y="95257"/>
                </a:cubicBezTo>
                <a:cubicBezTo>
                  <a:pt x="76222" y="84735"/>
                  <a:pt x="84754" y="76210"/>
                  <a:pt x="95275" y="76213"/>
                </a:cubicBezTo>
                <a:cubicBezTo>
                  <a:pt x="97836" y="76214"/>
                  <a:pt x="100371" y="76731"/>
                  <a:pt x="102727" y="77734"/>
                </a:cubicBezTo>
                <a:lnTo>
                  <a:pt x="119110" y="61351"/>
                </a:lnTo>
                <a:lnTo>
                  <a:pt x="119101" y="30975"/>
                </a:lnTo>
                <a:cubicBezTo>
                  <a:pt x="119103" y="29081"/>
                  <a:pt x="119856" y="27266"/>
                  <a:pt x="121196" y="25927"/>
                </a:cubicBezTo>
                <a:lnTo>
                  <a:pt x="145009" y="2115"/>
                </a:lnTo>
                <a:cubicBezTo>
                  <a:pt x="147800" y="-674"/>
                  <a:pt x="152323" y="-671"/>
                  <a:pt x="155112" y="2121"/>
                </a:cubicBezTo>
                <a:cubicBezTo>
                  <a:pt x="156447" y="3459"/>
                  <a:pt x="157199" y="5272"/>
                  <a:pt x="157201" y="7163"/>
                </a:cubicBezTo>
                <a:lnTo>
                  <a:pt x="157201" y="33357"/>
                </a:lnTo>
                <a:lnTo>
                  <a:pt x="183394" y="33357"/>
                </a:lnTo>
                <a:cubicBezTo>
                  <a:pt x="187340" y="33360"/>
                  <a:pt x="190535" y="36561"/>
                  <a:pt x="190531" y="40507"/>
                </a:cubicBezTo>
                <a:cubicBezTo>
                  <a:pt x="190530" y="42397"/>
                  <a:pt x="189779" y="44211"/>
                  <a:pt x="188443" y="45549"/>
                </a:cubicBezTo>
                <a:lnTo>
                  <a:pt x="164630" y="69361"/>
                </a:lnTo>
                <a:cubicBezTo>
                  <a:pt x="163292" y="70701"/>
                  <a:pt x="161475" y="71455"/>
                  <a:pt x="159582" y="71457"/>
                </a:cubicBezTo>
                <a:lnTo>
                  <a:pt x="129197" y="71457"/>
                </a:lnTo>
                <a:lnTo>
                  <a:pt x="112814" y="87840"/>
                </a:lnTo>
                <a:cubicBezTo>
                  <a:pt x="113786" y="90126"/>
                  <a:pt x="114319" y="92631"/>
                  <a:pt x="114319" y="95269"/>
                </a:cubicBezTo>
                <a:close/>
                <a:moveTo>
                  <a:pt x="156620" y="57169"/>
                </a:moveTo>
                <a:lnTo>
                  <a:pt x="166145" y="47644"/>
                </a:lnTo>
                <a:lnTo>
                  <a:pt x="150047" y="47644"/>
                </a:lnTo>
                <a:cubicBezTo>
                  <a:pt x="146102" y="47644"/>
                  <a:pt x="142904" y="44446"/>
                  <a:pt x="142904" y="40500"/>
                </a:cubicBezTo>
                <a:lnTo>
                  <a:pt x="142904" y="24403"/>
                </a:lnTo>
                <a:lnTo>
                  <a:pt x="133388" y="33928"/>
                </a:lnTo>
                <a:lnTo>
                  <a:pt x="133388" y="56607"/>
                </a:lnTo>
                <a:cubicBezTo>
                  <a:pt x="133590" y="56783"/>
                  <a:pt x="133781" y="56970"/>
                  <a:pt x="133960" y="57169"/>
                </a:cubicBezTo>
                <a:lnTo>
                  <a:pt x="156629" y="57169"/>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57" name="Rounded Rectangle 56">
            <a:extLst>
              <a:ext uri="{FF2B5EF4-FFF2-40B4-BE49-F238E27FC236}">
                <a16:creationId xmlns:a16="http://schemas.microsoft.com/office/drawing/2014/main" id="{2D86AD30-3CFE-26AC-DCBD-43E77A416346}"/>
              </a:ext>
            </a:extLst>
          </p:cNvPr>
          <p:cNvSpPr>
            <a:spLocks/>
          </p:cNvSpPr>
          <p:nvPr/>
        </p:nvSpPr>
        <p:spPr bwMode="auto">
          <a:xfrm>
            <a:off x="6036310" y="1225509"/>
            <a:ext cx="5584190" cy="2925642"/>
          </a:xfrm>
          <a:prstGeom prst="roundRect">
            <a:avLst>
              <a:gd name="adj" fmla="val 2760"/>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88" name="TextBox 87">
            <a:extLst>
              <a:ext uri="{FF2B5EF4-FFF2-40B4-BE49-F238E27FC236}">
                <a16:creationId xmlns:a16="http://schemas.microsoft.com/office/drawing/2014/main" id="{940E5A2E-92AF-677B-CA9C-1BC4B34AE8EB}"/>
              </a:ext>
            </a:extLst>
          </p:cNvPr>
          <p:cNvSpPr txBox="1"/>
          <p:nvPr/>
        </p:nvSpPr>
        <p:spPr>
          <a:xfrm>
            <a:off x="739970" y="4913228"/>
            <a:ext cx="2109910" cy="215444"/>
          </a:xfrm>
          <a:prstGeom prst="rect">
            <a:avLst/>
          </a:prstGeom>
          <a:noFill/>
        </p:spPr>
        <p:txBody>
          <a:bodyPr wrap="square" lIns="0" tIns="0" rIns="0" bIns="0" anchor="ctr">
            <a:spAutoFit/>
          </a:bodyPr>
          <a:lstStyle>
            <a:defPPr>
              <a:defRPr lang="en-US"/>
            </a:defPPr>
            <a:lvl1pPr marR="0" lvl="0" indent="0" defTabSz="932472" fontAlgn="base">
              <a:spcBef>
                <a:spcPct val="0"/>
              </a:spcBef>
              <a:spcAft>
                <a:spcPts val="1200"/>
              </a:spcAft>
              <a:buClrTx/>
              <a:buSzTx/>
              <a:buFontTx/>
              <a:buNone/>
              <a:tabLst/>
              <a:defRPr kumimoji="0" sz="1400" b="0" i="0" u="none" strike="noStrike" cap="none" spc="0" normalizeH="0" baseline="0">
                <a:ln>
                  <a:noFill/>
                </a:ln>
                <a:gradFill>
                  <a:gsLst>
                    <a:gs pos="35000">
                      <a:srgbClr val="0078D4"/>
                    </a:gs>
                    <a:gs pos="0">
                      <a:srgbClr val="C03BC4"/>
                    </a:gs>
                  </a:gsLst>
                  <a:path path="circle">
                    <a:fillToRect l="100000" t="100000"/>
                  </a:path>
                </a:gradFill>
                <a:effectLst/>
                <a:uLnTx/>
                <a:uFillTx/>
                <a:latin typeface="+mj-lt"/>
                <a:ea typeface="Segoe UI" pitchFamily="34" charset="0"/>
                <a:cs typeface="Segoe UI Semibold" panose="020B0702040204020203" pitchFamily="34" charset="0"/>
              </a:defRPr>
            </a:lvl1p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400" b="0" i="0" u="none" strike="noStrike" kern="1200" cap="none" spc="0" normalizeH="0" baseline="0" noProof="0">
                <a:ln>
                  <a:noFill/>
                </a:ln>
                <a:gradFill flip="none" rotWithShape="1">
                  <a:gsLst>
                    <a:gs pos="55000">
                      <a:srgbClr val="0078D4"/>
                    </a:gs>
                    <a:gs pos="0">
                      <a:srgbClr val="C03BC4"/>
                    </a:gs>
                  </a:gsLst>
                  <a:lin ang="13500000" scaled="1"/>
                  <a:tileRect/>
                </a:gradFill>
                <a:effectLst/>
                <a:uLnTx/>
                <a:uFillTx/>
                <a:latin typeface="Segoe UI Semibold"/>
                <a:cs typeface="Segoe UI Semibold"/>
              </a:rPr>
              <a:t>AI can assist with...</a:t>
            </a:r>
            <a:endParaRPr kumimoji="0" lang="en-US" sz="1400" b="0" i="0" u="none" strike="noStrike" kern="1200" cap="none" spc="0" normalizeH="0" baseline="0" noProof="0">
              <a:ln>
                <a:noFill/>
              </a:ln>
              <a:gradFill flip="none" rotWithShape="1">
                <a:gsLst>
                  <a:gs pos="55000">
                    <a:srgbClr val="0078D4"/>
                  </a:gs>
                  <a:gs pos="0">
                    <a:srgbClr val="C03BC4"/>
                  </a:gs>
                </a:gsLst>
                <a:lin ang="13500000" scaled="1"/>
                <a:tileRect/>
              </a:gradFill>
              <a:effectLst/>
              <a:uLnTx/>
              <a:uFillTx/>
              <a:latin typeface="Segoe UI Semibold"/>
              <a:cs typeface="Segoe UI Semibold" panose="020B0702040204020203" pitchFamily="34" charset="0"/>
            </a:endParaRPr>
          </a:p>
        </p:txBody>
      </p:sp>
      <p:sp>
        <p:nvSpPr>
          <p:cNvPr id="89" name="Graphic 60">
            <a:extLst>
              <a:ext uri="{FF2B5EF4-FFF2-40B4-BE49-F238E27FC236}">
                <a16:creationId xmlns:a16="http://schemas.microsoft.com/office/drawing/2014/main" id="{86FA2313-5177-F45F-1519-5FE63F3717F5}"/>
              </a:ext>
              <a:ext uri="{C183D7F6-B498-43B3-948B-1728B52AA6E4}">
                <adec:decorative xmlns:adec="http://schemas.microsoft.com/office/drawing/2017/decorative" val="1"/>
              </a:ext>
            </a:extLst>
          </p:cNvPr>
          <p:cNvSpPr>
            <a:spLocks/>
          </p:cNvSpPr>
          <p:nvPr/>
        </p:nvSpPr>
        <p:spPr>
          <a:xfrm>
            <a:off x="739970" y="4475436"/>
            <a:ext cx="304800" cy="304800"/>
          </a:xfrm>
          <a:custGeom>
            <a:avLst/>
            <a:gdLst>
              <a:gd name="connsiteX0" fmla="*/ 152400 w 304800"/>
              <a:gd name="connsiteY0" fmla="*/ 0 h 304800"/>
              <a:gd name="connsiteX1" fmla="*/ 304800 w 304800"/>
              <a:gd name="connsiteY1" fmla="*/ 152400 h 304800"/>
              <a:gd name="connsiteX2" fmla="*/ 152400 w 304800"/>
              <a:gd name="connsiteY2" fmla="*/ 304800 h 304800"/>
              <a:gd name="connsiteX3" fmla="*/ 0 w 304800"/>
              <a:gd name="connsiteY3" fmla="*/ 152400 h 304800"/>
              <a:gd name="connsiteX4" fmla="*/ 152400 w 304800"/>
              <a:gd name="connsiteY4" fmla="*/ 0 h 304800"/>
              <a:gd name="connsiteX5" fmla="*/ 152400 w 304800"/>
              <a:gd name="connsiteY5" fmla="*/ 25405 h 304800"/>
              <a:gd name="connsiteX6" fmla="*/ 25405 w 304800"/>
              <a:gd name="connsiteY6" fmla="*/ 152400 h 304800"/>
              <a:gd name="connsiteX7" fmla="*/ 152400 w 304800"/>
              <a:gd name="connsiteY7" fmla="*/ 279395 h 304800"/>
              <a:gd name="connsiteX8" fmla="*/ 279395 w 304800"/>
              <a:gd name="connsiteY8" fmla="*/ 152400 h 304800"/>
              <a:gd name="connsiteX9" fmla="*/ 152400 w 304800"/>
              <a:gd name="connsiteY9" fmla="*/ 25405 h 304800"/>
              <a:gd name="connsiteX10" fmla="*/ 152400 w 304800"/>
              <a:gd name="connsiteY10" fmla="*/ 205740 h 304800"/>
              <a:gd name="connsiteX11" fmla="*/ 167640 w 304800"/>
              <a:gd name="connsiteY11" fmla="*/ 220980 h 304800"/>
              <a:gd name="connsiteX12" fmla="*/ 152400 w 304800"/>
              <a:gd name="connsiteY12" fmla="*/ 236220 h 304800"/>
              <a:gd name="connsiteX13" fmla="*/ 137160 w 304800"/>
              <a:gd name="connsiteY13" fmla="*/ 220980 h 304800"/>
              <a:gd name="connsiteX14" fmla="*/ 152400 w 304800"/>
              <a:gd name="connsiteY14" fmla="*/ 205740 h 304800"/>
              <a:gd name="connsiteX15" fmla="*/ 152400 w 304800"/>
              <a:gd name="connsiteY15" fmla="*/ 72390 h 304800"/>
              <a:gd name="connsiteX16" fmla="*/ 194310 w 304800"/>
              <a:gd name="connsiteY16" fmla="*/ 114300 h 304800"/>
              <a:gd name="connsiteX17" fmla="*/ 178293 w 304800"/>
              <a:gd name="connsiteY17" fmla="*/ 150251 h 304800"/>
              <a:gd name="connsiteX18" fmla="*/ 175717 w 304800"/>
              <a:gd name="connsiteY18" fmla="*/ 152857 h 304800"/>
              <a:gd name="connsiteX19" fmla="*/ 163830 w 304800"/>
              <a:gd name="connsiteY19" fmla="*/ 175260 h 304800"/>
              <a:gd name="connsiteX20" fmla="*/ 152400 w 304800"/>
              <a:gd name="connsiteY20" fmla="*/ 186690 h 304800"/>
              <a:gd name="connsiteX21" fmla="*/ 140970 w 304800"/>
              <a:gd name="connsiteY21" fmla="*/ 175260 h 304800"/>
              <a:gd name="connsiteX22" fmla="*/ 156987 w 304800"/>
              <a:gd name="connsiteY22" fmla="*/ 139309 h 304800"/>
              <a:gd name="connsiteX23" fmla="*/ 159563 w 304800"/>
              <a:gd name="connsiteY23" fmla="*/ 136703 h 304800"/>
              <a:gd name="connsiteX24" fmla="*/ 171450 w 304800"/>
              <a:gd name="connsiteY24" fmla="*/ 114300 h 304800"/>
              <a:gd name="connsiteX25" fmla="*/ 152339 w 304800"/>
              <a:gd name="connsiteY25" fmla="*/ 95312 h 304800"/>
              <a:gd name="connsiteX26" fmla="*/ 133457 w 304800"/>
              <a:gd name="connsiteY26" fmla="*/ 112349 h 304800"/>
              <a:gd name="connsiteX27" fmla="*/ 133350 w 304800"/>
              <a:gd name="connsiteY27" fmla="*/ 114300 h 304800"/>
              <a:gd name="connsiteX28" fmla="*/ 121920 w 304800"/>
              <a:gd name="connsiteY28" fmla="*/ 125730 h 304800"/>
              <a:gd name="connsiteX29" fmla="*/ 110490 w 304800"/>
              <a:gd name="connsiteY29" fmla="*/ 114300 h 304800"/>
              <a:gd name="connsiteX30" fmla="*/ 152400 w 304800"/>
              <a:gd name="connsiteY30" fmla="*/ 7239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04800" h="304800">
                <a:moveTo>
                  <a:pt x="152400" y="0"/>
                </a:moveTo>
                <a:cubicBezTo>
                  <a:pt x="236571" y="0"/>
                  <a:pt x="304800" y="68245"/>
                  <a:pt x="304800" y="152400"/>
                </a:cubicBezTo>
                <a:cubicBezTo>
                  <a:pt x="304800" y="236555"/>
                  <a:pt x="236571" y="304800"/>
                  <a:pt x="152400" y="304800"/>
                </a:cubicBezTo>
                <a:cubicBezTo>
                  <a:pt x="68229" y="304800"/>
                  <a:pt x="0" y="236555"/>
                  <a:pt x="0" y="152400"/>
                </a:cubicBezTo>
                <a:cubicBezTo>
                  <a:pt x="0" y="68245"/>
                  <a:pt x="68229" y="0"/>
                  <a:pt x="152400" y="0"/>
                </a:cubicBezTo>
                <a:close/>
                <a:moveTo>
                  <a:pt x="152400" y="25405"/>
                </a:moveTo>
                <a:cubicBezTo>
                  <a:pt x="82372" y="25405"/>
                  <a:pt x="25405" y="82372"/>
                  <a:pt x="25405" y="152400"/>
                </a:cubicBezTo>
                <a:cubicBezTo>
                  <a:pt x="25405" y="222428"/>
                  <a:pt x="82372" y="279395"/>
                  <a:pt x="152400" y="279395"/>
                </a:cubicBezTo>
                <a:cubicBezTo>
                  <a:pt x="222428" y="279395"/>
                  <a:pt x="279395" y="222428"/>
                  <a:pt x="279395" y="152400"/>
                </a:cubicBezTo>
                <a:cubicBezTo>
                  <a:pt x="279395" y="82372"/>
                  <a:pt x="222428" y="25405"/>
                  <a:pt x="152400" y="25405"/>
                </a:cubicBezTo>
                <a:close/>
                <a:moveTo>
                  <a:pt x="152400" y="205740"/>
                </a:moveTo>
                <a:cubicBezTo>
                  <a:pt x="160817" y="205740"/>
                  <a:pt x="167640" y="212563"/>
                  <a:pt x="167640" y="220980"/>
                </a:cubicBezTo>
                <a:cubicBezTo>
                  <a:pt x="167640" y="229397"/>
                  <a:pt x="160817" y="236220"/>
                  <a:pt x="152400" y="236220"/>
                </a:cubicBezTo>
                <a:cubicBezTo>
                  <a:pt x="143983" y="236220"/>
                  <a:pt x="137160" y="229397"/>
                  <a:pt x="137160" y="220980"/>
                </a:cubicBezTo>
                <a:cubicBezTo>
                  <a:pt x="137160" y="212563"/>
                  <a:pt x="143983" y="205740"/>
                  <a:pt x="152400" y="205740"/>
                </a:cubicBezTo>
                <a:close/>
                <a:moveTo>
                  <a:pt x="152400" y="72390"/>
                </a:moveTo>
                <a:cubicBezTo>
                  <a:pt x="175547" y="72390"/>
                  <a:pt x="194310" y="91154"/>
                  <a:pt x="194310" y="114300"/>
                </a:cubicBezTo>
                <a:cubicBezTo>
                  <a:pt x="194310" y="129692"/>
                  <a:pt x="189784" y="138288"/>
                  <a:pt x="178293" y="150251"/>
                </a:cubicBezTo>
                <a:lnTo>
                  <a:pt x="175717" y="152857"/>
                </a:lnTo>
                <a:cubicBezTo>
                  <a:pt x="166238" y="162336"/>
                  <a:pt x="163830" y="166360"/>
                  <a:pt x="163830" y="175260"/>
                </a:cubicBezTo>
                <a:cubicBezTo>
                  <a:pt x="163830" y="181572"/>
                  <a:pt x="158712" y="186690"/>
                  <a:pt x="152400" y="186690"/>
                </a:cubicBezTo>
                <a:cubicBezTo>
                  <a:pt x="146088" y="186690"/>
                  <a:pt x="140970" y="181572"/>
                  <a:pt x="140970" y="175260"/>
                </a:cubicBezTo>
                <a:cubicBezTo>
                  <a:pt x="140970" y="159868"/>
                  <a:pt x="145496" y="151272"/>
                  <a:pt x="156987" y="139309"/>
                </a:cubicBezTo>
                <a:lnTo>
                  <a:pt x="159563" y="136703"/>
                </a:lnTo>
                <a:cubicBezTo>
                  <a:pt x="169042" y="127224"/>
                  <a:pt x="171450" y="123200"/>
                  <a:pt x="171450" y="114300"/>
                </a:cubicBezTo>
                <a:cubicBezTo>
                  <a:pt x="171416" y="103779"/>
                  <a:pt x="162859" y="95278"/>
                  <a:pt x="152339" y="95312"/>
                </a:cubicBezTo>
                <a:cubicBezTo>
                  <a:pt x="142621" y="95343"/>
                  <a:pt x="134484" y="102685"/>
                  <a:pt x="133457" y="112349"/>
                </a:cubicBezTo>
                <a:lnTo>
                  <a:pt x="133350" y="114300"/>
                </a:lnTo>
                <a:cubicBezTo>
                  <a:pt x="133350" y="120613"/>
                  <a:pt x="128232" y="125730"/>
                  <a:pt x="121920" y="125730"/>
                </a:cubicBezTo>
                <a:cubicBezTo>
                  <a:pt x="115607" y="125730"/>
                  <a:pt x="110490" y="120613"/>
                  <a:pt x="110490" y="114300"/>
                </a:cubicBezTo>
                <a:cubicBezTo>
                  <a:pt x="110490" y="91154"/>
                  <a:pt x="129253" y="72390"/>
                  <a:pt x="152400" y="72390"/>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108" name="Text Placeholder 4">
            <a:extLst>
              <a:ext uri="{FF2B5EF4-FFF2-40B4-BE49-F238E27FC236}">
                <a16:creationId xmlns:a16="http://schemas.microsoft.com/office/drawing/2014/main" id="{93EC6967-A053-6847-8334-F5C34ACC5F69}"/>
              </a:ext>
            </a:extLst>
          </p:cNvPr>
          <p:cNvSpPr txBox="1">
            <a:spLocks/>
          </p:cNvSpPr>
          <p:nvPr/>
        </p:nvSpPr>
        <p:spPr>
          <a:xfrm>
            <a:off x="739970" y="5294476"/>
            <a:ext cx="2163830" cy="846386"/>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582780" rtl="0" eaLnBrk="1" fontAlgn="auto" latinLnBrk="0" hangingPunct="1">
              <a:lnSpc>
                <a:spcPct val="100000"/>
              </a:lnSpc>
              <a:spcBef>
                <a:spcPct val="0"/>
              </a:spcBef>
              <a:spcAft>
                <a:spcPts val="300"/>
              </a:spcAft>
              <a:buClrTx/>
              <a:buSzTx/>
              <a:buFont typeface="Wingdings" panose="05000000000000000000" pitchFamily="2" charset="2"/>
              <a:buNone/>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AI assists Retail organizations with numerous tasks that impact critical areas like store performance, supply chain, and market campaigns. </a:t>
            </a:r>
          </a:p>
        </p:txBody>
      </p:sp>
      <p:sp>
        <p:nvSpPr>
          <p:cNvPr id="12" name="Rounded Rectangle 55">
            <a:extLst>
              <a:ext uri="{FF2B5EF4-FFF2-40B4-BE49-F238E27FC236}">
                <a16:creationId xmlns:a16="http://schemas.microsoft.com/office/drawing/2014/main" id="{CDD41462-85D1-2DD6-B2BB-73AD2D2C1BAC}"/>
              </a:ext>
            </a:extLst>
          </p:cNvPr>
          <p:cNvSpPr/>
          <p:nvPr/>
        </p:nvSpPr>
        <p:spPr bwMode="auto">
          <a:xfrm>
            <a:off x="588263" y="2765325"/>
            <a:ext cx="5310887" cy="1386124"/>
          </a:xfrm>
          <a:prstGeom prst="roundRect">
            <a:avLst>
              <a:gd name="adj" fmla="val 6635"/>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aphicFrame>
        <p:nvGraphicFramePr>
          <p:cNvPr id="16" name="Table 15">
            <a:extLst>
              <a:ext uri="{FF2B5EF4-FFF2-40B4-BE49-F238E27FC236}">
                <a16:creationId xmlns:a16="http://schemas.microsoft.com/office/drawing/2014/main" id="{E225CC6A-AA45-23E6-5744-6B9EFF0CEB3F}"/>
              </a:ext>
            </a:extLst>
          </p:cNvPr>
          <p:cNvGraphicFramePr>
            <a:graphicFrameLocks noGrp="1"/>
          </p:cNvGraphicFramePr>
          <p:nvPr>
            <p:extLst>
              <p:ext uri="{D42A27DB-BD31-4B8C-83A1-F6EECF244321}">
                <p14:modId xmlns:p14="http://schemas.microsoft.com/office/powerpoint/2010/main" val="131697630"/>
              </p:ext>
            </p:extLst>
          </p:nvPr>
        </p:nvGraphicFramePr>
        <p:xfrm>
          <a:off x="6036310" y="1225509"/>
          <a:ext cx="5584190" cy="3041708"/>
        </p:xfrm>
        <a:graphic>
          <a:graphicData uri="http://schemas.openxmlformats.org/drawingml/2006/table">
            <a:tbl>
              <a:tblPr firstRow="1" bandRow="1">
                <a:tableStyleId>{5C22544A-7EE6-4342-B048-85BDC9FD1C3A}</a:tableStyleId>
              </a:tblPr>
              <a:tblGrid>
                <a:gridCol w="974090">
                  <a:extLst>
                    <a:ext uri="{9D8B030D-6E8A-4147-A177-3AD203B41FA5}">
                      <a16:colId xmlns:a16="http://schemas.microsoft.com/office/drawing/2014/main" val="1464606022"/>
                    </a:ext>
                  </a:extLst>
                </a:gridCol>
                <a:gridCol w="4610100">
                  <a:extLst>
                    <a:ext uri="{9D8B030D-6E8A-4147-A177-3AD203B41FA5}">
                      <a16:colId xmlns:a16="http://schemas.microsoft.com/office/drawing/2014/main" val="2911697903"/>
                    </a:ext>
                  </a:extLst>
                </a:gridCol>
              </a:tblGrid>
              <a:tr h="288221">
                <a:tc gridSpan="2">
                  <a:txBody>
                    <a:body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200" b="0" i="0" u="none" strike="noStrike" kern="1200" cap="none" spc="0" normalizeH="0" baseline="0" noProof="0">
                          <a:ln>
                            <a:noFill/>
                          </a:ln>
                          <a:gradFill flip="none" rotWithShape="1">
                            <a:gsLst>
                              <a:gs pos="55000">
                                <a:srgbClr val="0078D4"/>
                              </a:gs>
                              <a:gs pos="0">
                                <a:srgbClr val="C03BC4"/>
                              </a:gs>
                            </a:gsLst>
                            <a:lin ang="13500000" scaled="1"/>
                            <a:tileRect/>
                          </a:gradFill>
                          <a:effectLst/>
                          <a:uLnTx/>
                          <a:uFillTx/>
                          <a:latin typeface="+mj-lt"/>
                          <a:ea typeface="+mn-ea"/>
                          <a:cs typeface="Segoe UI Semibold" panose="020B0702040204020203" pitchFamily="34" charset="0"/>
                        </a:rPr>
                        <a:t>Opportunity to impact Retail KPI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hMerge="1">
                  <a:txBody>
                    <a:bodyPr/>
                    <a:lstStyle/>
                    <a:p>
                      <a:endParaRPr lang="en-IN"/>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46526871"/>
                  </a:ext>
                </a:extLst>
              </a:tr>
              <a:tr h="48036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j-lt"/>
                          <a:ea typeface="+mn-ea"/>
                          <a:cs typeface="Segoe UI Semibold" panose="020B0702040204020203" pitchFamily="34" charset="0"/>
                        </a:rPr>
                        <a:t>Revenue per store</a:t>
                      </a: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0" i="0" u="none" strike="noStrike" kern="100" cap="none" spc="0" normalizeH="0" baseline="0" noProof="0" dirty="0">
                          <a:ln>
                            <a:noFill/>
                          </a:ln>
                          <a:solidFill>
                            <a:schemeClr val="tx1"/>
                          </a:solidFill>
                          <a:effectLst/>
                          <a:uLnTx/>
                          <a:uFillTx/>
                          <a:latin typeface="+mn-lt"/>
                          <a:ea typeface="Aptos" panose="020B0004020202020204" pitchFamily="34" charset="0"/>
                          <a:cs typeface="Times New Roman"/>
                        </a:rPr>
                        <a:t>Provide real-time monitoring of sales, inventory, customer feedback, and staff performance across different locations and/or channels by leveraging data from various sources to quickly gain actionable insights.</a:t>
                      </a: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42407484"/>
                  </a:ext>
                </a:extLst>
              </a:tr>
              <a:tr h="50779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j-lt"/>
                          <a:ea typeface="+mn-ea"/>
                          <a:cs typeface="Segoe UI Semibold"/>
                        </a:rPr>
                        <a:t>Customer satisfaction</a:t>
                      </a: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14225" rtl="0" eaLnBrk="1" fontAlgn="auto" latinLnBrk="0" hangingPunct="1">
                        <a:lnSpc>
                          <a:spcPct val="110000"/>
                        </a:lnSpc>
                        <a:spcBef>
                          <a:spcPts val="0"/>
                        </a:spcBef>
                        <a:spcAft>
                          <a:spcPts val="600"/>
                        </a:spcAft>
                        <a:buClrTx/>
                        <a:buSzTx/>
                        <a:buFontTx/>
                        <a:buNone/>
                        <a:tabLst/>
                        <a:defRPr/>
                      </a:pPr>
                      <a:r>
                        <a:rPr lang="en-US" sz="900" noProof="0" dirty="0">
                          <a:solidFill>
                            <a:srgbClr val="000000"/>
                          </a:solidFill>
                          <a:latin typeface="+mn-lt"/>
                          <a:cs typeface="Segoe UI" panose="020B0502040204020203" pitchFamily="34" charset="0"/>
                        </a:rPr>
                        <a:t>Streamline processes that lead to greater customer satisfaction, from analyzing multiple data sources to understand which products to stock to ensuring product availability</a:t>
                      </a:r>
                      <a:r>
                        <a:rPr lang="en-US" sz="900" noProof="0" dirty="0">
                          <a:solidFill>
                            <a:srgbClr val="1A1A1A"/>
                          </a:solidFill>
                          <a:latin typeface="+mn-lt"/>
                        </a:rPr>
                        <a:t> and answering customer questions in-store.</a:t>
                      </a:r>
                      <a:endParaRPr kumimoji="0" lang="en-US" sz="900" b="0" i="0" u="none" strike="noStrike" kern="1200" cap="none" spc="0" normalizeH="0" baseline="30000" noProof="0" dirty="0">
                        <a:ln>
                          <a:noFill/>
                        </a:ln>
                        <a:solidFill>
                          <a:srgbClr val="000000"/>
                        </a:solidFill>
                        <a:effectLst/>
                        <a:uLnTx/>
                        <a:uFillTx/>
                        <a:latin typeface="+mn-lt"/>
                        <a:ea typeface="+mn-ea"/>
                        <a:cs typeface="Segoe UI" panose="020B0502040204020203" pitchFamily="34" charset="0"/>
                      </a:endParaRP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73384838"/>
                  </a:ext>
                </a:extLst>
              </a:tr>
              <a:tr h="528405">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j-lt"/>
                          <a:ea typeface="+mn-ea"/>
                          <a:cs typeface="Segoe UI Semibold"/>
                        </a:rPr>
                        <a:t>Sales conversion rate</a:t>
                      </a: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14225" rtl="0" eaLnBrk="1" fontAlgn="auto" latinLnBrk="0" hangingPunct="1">
                        <a:lnSpc>
                          <a:spcPct val="11000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mn-lt"/>
                          <a:ea typeface="+mn-ea"/>
                          <a:cs typeface="Segoe UI" panose="020B0502040204020203" pitchFamily="34" charset="0"/>
                        </a:rPr>
                        <a:t>Help customers move from ‘browse’ to ‘buy’ with personalized shopping experiences that understand context to surface the perfect product, targeted marketing campaigns that maximize the power of your marketing spend, and helpful answers in the pocket of every store associate.</a:t>
                      </a: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10844117"/>
                  </a:ext>
                </a:extLst>
              </a:tr>
              <a:tr h="384294">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j-lt"/>
                          <a:ea typeface="+mn-ea"/>
                          <a:cs typeface="Segoe UI Semibold" panose="020B0702040204020203" pitchFamily="34" charset="0"/>
                        </a:rPr>
                        <a:t>Employee turnover​</a:t>
                      </a: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14225" rtl="0" eaLnBrk="1" fontAlgn="auto" latinLnBrk="0" hangingPunct="1">
                        <a:lnSpc>
                          <a:spcPct val="11000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mn-lt"/>
                          <a:ea typeface="+mn-ea"/>
                          <a:cs typeface="Segoe UI" panose="020B0502040204020203" pitchFamily="34" charset="0"/>
                        </a:rPr>
                        <a:t>Reduce time spent on shift scheduling while optimizing coverage requirements. Improve employee morale with improved communication and simplified schedule changes.</a:t>
                      </a:r>
                      <a:endParaRPr kumimoji="0" lang="en-US" sz="900" b="0" i="0" u="none" strike="noStrike" kern="1200" cap="none" spc="0" normalizeH="0" baseline="30000" noProof="0" dirty="0">
                        <a:ln>
                          <a:noFill/>
                        </a:ln>
                        <a:solidFill>
                          <a:srgbClr val="000000"/>
                        </a:solidFill>
                        <a:effectLst/>
                        <a:uLnTx/>
                        <a:uFillTx/>
                        <a:latin typeface="+mn-lt"/>
                        <a:ea typeface="+mn-ea"/>
                        <a:cs typeface="Segoe UI" panose="020B0502040204020203" pitchFamily="34" charset="0"/>
                      </a:endParaRP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18171760"/>
                  </a:ext>
                </a:extLst>
              </a:tr>
              <a:tr h="384294">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j-lt"/>
                          <a:ea typeface="+mn-ea"/>
                          <a:cs typeface="Segoe UI Semibold" panose="020B0702040204020203" pitchFamily="34" charset="0"/>
                        </a:rPr>
                        <a:t>Marketing spend</a:t>
                      </a: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mn-lt"/>
                          <a:ea typeface="+mn-ea"/>
                          <a:cs typeface="Segoe UI" panose="020B0502040204020203" pitchFamily="34" charset="0"/>
                        </a:rPr>
                        <a:t>Ensure your marketing budget is used </a:t>
                      </a:r>
                      <a:r>
                        <a:rPr lang="en-US" sz="900" noProof="0" dirty="0">
                          <a:solidFill>
                            <a:srgbClr val="000000"/>
                          </a:solidFill>
                          <a:latin typeface="+mn-lt"/>
                          <a:cs typeface="Segoe UI" panose="020B0502040204020203" pitchFamily="34" charset="0"/>
                        </a:rPr>
                        <a:t>efficiently with research, analytics, and personalization capabilities that help you reach customers wherever they are in their shopping journey.</a:t>
                      </a:r>
                      <a:endParaRPr kumimoji="0" lang="en-US" sz="9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698603741"/>
                  </a:ext>
                </a:extLst>
              </a:tr>
            </a:tbl>
          </a:graphicData>
        </a:graphic>
      </p:graphicFrame>
      <p:sp>
        <p:nvSpPr>
          <p:cNvPr id="30" name="Freeform 27">
            <a:extLst>
              <a:ext uri="{FF2B5EF4-FFF2-40B4-BE49-F238E27FC236}">
                <a16:creationId xmlns:a16="http://schemas.microsoft.com/office/drawing/2014/main" id="{A8790674-540B-1046-EC40-420DE1B2A036}"/>
              </a:ext>
              <a:ext uri="{C183D7F6-B498-43B3-948B-1728B52AA6E4}">
                <adec:decorative xmlns:adec="http://schemas.microsoft.com/office/drawing/2017/decorative" val="1"/>
              </a:ext>
            </a:extLst>
          </p:cNvPr>
          <p:cNvSpPr/>
          <p:nvPr/>
        </p:nvSpPr>
        <p:spPr bwMode="auto">
          <a:xfrm rot="5400000">
            <a:off x="1423800" y="3444671"/>
            <a:ext cx="1231784" cy="27432"/>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19" name="TextBox 18">
            <a:extLst>
              <a:ext uri="{FF2B5EF4-FFF2-40B4-BE49-F238E27FC236}">
                <a16:creationId xmlns:a16="http://schemas.microsoft.com/office/drawing/2014/main" id="{E48A36C3-940C-D354-ECDA-67863C4DCE25}"/>
              </a:ext>
            </a:extLst>
          </p:cNvPr>
          <p:cNvSpPr txBox="1">
            <a:spLocks/>
          </p:cNvSpPr>
          <p:nvPr/>
        </p:nvSpPr>
        <p:spPr>
          <a:xfrm>
            <a:off x="739970" y="3464093"/>
            <a:ext cx="1213415" cy="430887"/>
          </a:xfrm>
          <a:prstGeom prst="rect">
            <a:avLst/>
          </a:prstGeom>
          <a:noFill/>
        </p:spPr>
        <p:txBody>
          <a:bodyPr wrap="square" lIns="0" tIns="0" rIns="0" bIns="0" anchor="ctr">
            <a:spAutoFit/>
          </a:bodyPr>
          <a:lstStyle>
            <a:defPPr>
              <a:defRPr lang="en-US"/>
            </a:defPPr>
            <a:lvl1pPr marR="0" lvl="0" indent="0" defTabSz="932472" fontAlgn="base">
              <a:spcBef>
                <a:spcPct val="0"/>
              </a:spcBef>
              <a:spcAft>
                <a:spcPts val="1200"/>
              </a:spcAft>
              <a:buClrTx/>
              <a:buSzTx/>
              <a:buFontTx/>
              <a:buNone/>
              <a:tabLst/>
              <a:defRPr kumimoji="0" sz="1400" b="0" i="0" u="none" strike="noStrike" cap="none" spc="0" normalizeH="0" baseline="0">
                <a:ln>
                  <a:noFill/>
                </a:ln>
                <a:gradFill>
                  <a:gsLst>
                    <a:gs pos="35000">
                      <a:srgbClr val="0078D4"/>
                    </a:gs>
                    <a:gs pos="0">
                      <a:srgbClr val="C03BC4"/>
                    </a:gs>
                  </a:gsLst>
                  <a:path path="circle">
                    <a:fillToRect l="100000" t="100000"/>
                  </a:path>
                </a:gradFill>
                <a:effectLst/>
                <a:uLnTx/>
                <a:uFillTx/>
                <a:latin typeface="+mj-lt"/>
                <a:ea typeface="Segoe UI" pitchFamily="34" charset="0"/>
                <a:cs typeface="Segoe UI Semibold" panose="020B0702040204020203" pitchFamily="34" charset="0"/>
              </a:defRPr>
            </a:lvl1p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400" b="0" i="0" u="none" strike="noStrike" kern="1200" cap="none" spc="0" normalizeH="0" baseline="0" noProof="0">
                <a:ln>
                  <a:noFill/>
                </a:ln>
                <a:gradFill flip="none" rotWithShape="1">
                  <a:gsLst>
                    <a:gs pos="55000">
                      <a:srgbClr val="0078D4"/>
                    </a:gs>
                    <a:gs pos="0">
                      <a:srgbClr val="C03BC4"/>
                    </a:gs>
                  </a:gsLst>
                  <a:lin ang="13500000" scaled="1"/>
                  <a:tileRect/>
                </a:gradFill>
                <a:effectLst/>
                <a:uLnTx/>
                <a:uFillTx/>
                <a:latin typeface="Segoe UI Semibold"/>
                <a:cs typeface="Segoe UI Semibold" panose="020B0702040204020203" pitchFamily="34" charset="0"/>
              </a:rPr>
              <a:t>Retail roles using AI</a:t>
            </a:r>
          </a:p>
        </p:txBody>
      </p:sp>
      <p:sp>
        <p:nvSpPr>
          <p:cNvPr id="48" name="Graphic 74" descr="Icon of a person with a checkmark">
            <a:extLst>
              <a:ext uri="{FF2B5EF4-FFF2-40B4-BE49-F238E27FC236}">
                <a16:creationId xmlns:a16="http://schemas.microsoft.com/office/drawing/2014/main" id="{C0FB0C86-B33E-C158-07C4-71A601DE0331}"/>
              </a:ext>
            </a:extLst>
          </p:cNvPr>
          <p:cNvSpPr/>
          <p:nvPr/>
        </p:nvSpPr>
        <p:spPr>
          <a:xfrm>
            <a:off x="739970" y="3021793"/>
            <a:ext cx="305140" cy="305140"/>
          </a:xfrm>
          <a:custGeom>
            <a:avLst/>
            <a:gdLst>
              <a:gd name="connsiteX0" fmla="*/ 147599 w 199986"/>
              <a:gd name="connsiteY0" fmla="*/ 95212 h 199986"/>
              <a:gd name="connsiteX1" fmla="*/ 199987 w 199986"/>
              <a:gd name="connsiteY1" fmla="*/ 147599 h 199986"/>
              <a:gd name="connsiteX2" fmla="*/ 147599 w 199986"/>
              <a:gd name="connsiteY2" fmla="*/ 199987 h 199986"/>
              <a:gd name="connsiteX3" fmla="*/ 95212 w 199986"/>
              <a:gd name="connsiteY3" fmla="*/ 147599 h 199986"/>
              <a:gd name="connsiteX4" fmla="*/ 147599 w 199986"/>
              <a:gd name="connsiteY4" fmla="*/ 95212 h 199986"/>
              <a:gd name="connsiteX5" fmla="*/ 122396 w 199986"/>
              <a:gd name="connsiteY5" fmla="*/ 144228 h 199986"/>
              <a:gd name="connsiteX6" fmla="*/ 115662 w 199986"/>
              <a:gd name="connsiteY6" fmla="*/ 144345 h 199986"/>
              <a:gd name="connsiteX7" fmla="*/ 115662 w 199986"/>
              <a:gd name="connsiteY7" fmla="*/ 150962 h 199986"/>
              <a:gd name="connsiteX8" fmla="*/ 134712 w 199986"/>
              <a:gd name="connsiteY8" fmla="*/ 170012 h 199986"/>
              <a:gd name="connsiteX9" fmla="*/ 141446 w 199986"/>
              <a:gd name="connsiteY9" fmla="*/ 170012 h 199986"/>
              <a:gd name="connsiteX10" fmla="*/ 179546 w 199986"/>
              <a:gd name="connsiteY10" fmla="*/ 131912 h 199986"/>
              <a:gd name="connsiteX11" fmla="*/ 179429 w 199986"/>
              <a:gd name="connsiteY11" fmla="*/ 125178 h 199986"/>
              <a:gd name="connsiteX12" fmla="*/ 172812 w 199986"/>
              <a:gd name="connsiteY12" fmla="*/ 125178 h 199986"/>
              <a:gd name="connsiteX13" fmla="*/ 138074 w 199986"/>
              <a:gd name="connsiteY13" fmla="*/ 159915 h 199986"/>
              <a:gd name="connsiteX14" fmla="*/ 122396 w 199986"/>
              <a:gd name="connsiteY14" fmla="*/ 144228 h 199986"/>
              <a:gd name="connsiteX15" fmla="*/ 95421 w 199986"/>
              <a:gd name="connsiteY15" fmla="*/ 114262 h 199986"/>
              <a:gd name="connsiteX16" fmla="*/ 88678 w 199986"/>
              <a:gd name="connsiteY16" fmla="*/ 128549 h 199986"/>
              <a:gd name="connsiteX17" fmla="*/ 21422 w 199986"/>
              <a:gd name="connsiteY17" fmla="*/ 128549 h 199986"/>
              <a:gd name="connsiteX18" fmla="*/ 14278 w 199986"/>
              <a:gd name="connsiteY18" fmla="*/ 135674 h 199986"/>
              <a:gd name="connsiteX19" fmla="*/ 14278 w 199986"/>
              <a:gd name="connsiteY19" fmla="*/ 135693 h 199986"/>
              <a:gd name="connsiteX20" fmla="*/ 14278 w 199986"/>
              <a:gd name="connsiteY20" fmla="*/ 141189 h 199986"/>
              <a:gd name="connsiteX21" fmla="*/ 19421 w 199986"/>
              <a:gd name="connsiteY21" fmla="*/ 155105 h 199986"/>
              <a:gd name="connsiteX22" fmla="*/ 76162 w 199986"/>
              <a:gd name="connsiteY22" fmla="*/ 176193 h 199986"/>
              <a:gd name="connsiteX23" fmla="*/ 92164 w 199986"/>
              <a:gd name="connsiteY23" fmla="*/ 175184 h 199986"/>
              <a:gd name="connsiteX24" fmla="*/ 100851 w 199986"/>
              <a:gd name="connsiteY24" fmla="*/ 188195 h 199986"/>
              <a:gd name="connsiteX25" fmla="*/ 76162 w 199986"/>
              <a:gd name="connsiteY25" fmla="*/ 190481 h 199986"/>
              <a:gd name="connsiteX26" fmla="*/ 8553 w 199986"/>
              <a:gd name="connsiteY26" fmla="*/ 164382 h 199986"/>
              <a:gd name="connsiteX27" fmla="*/ 0 w 199986"/>
              <a:gd name="connsiteY27" fmla="*/ 141189 h 199986"/>
              <a:gd name="connsiteX28" fmla="*/ 0 w 199986"/>
              <a:gd name="connsiteY28" fmla="*/ 135693 h 199986"/>
              <a:gd name="connsiteX29" fmla="*/ 21412 w 199986"/>
              <a:gd name="connsiteY29" fmla="*/ 114262 h 199986"/>
              <a:gd name="connsiteX30" fmla="*/ 21422 w 199986"/>
              <a:gd name="connsiteY30" fmla="*/ 114262 h 199986"/>
              <a:gd name="connsiteX31" fmla="*/ 95431 w 199986"/>
              <a:gd name="connsiteY31" fmla="*/ 114262 h 199986"/>
              <a:gd name="connsiteX32" fmla="*/ 76162 w 199986"/>
              <a:gd name="connsiteY32" fmla="*/ 0 h 199986"/>
              <a:gd name="connsiteX33" fmla="*/ 123787 w 199986"/>
              <a:gd name="connsiteY33" fmla="*/ 47625 h 199986"/>
              <a:gd name="connsiteX34" fmla="*/ 76162 w 199986"/>
              <a:gd name="connsiteY34" fmla="*/ 95250 h 199986"/>
              <a:gd name="connsiteX35" fmla="*/ 28537 w 199986"/>
              <a:gd name="connsiteY35" fmla="*/ 47625 h 199986"/>
              <a:gd name="connsiteX36" fmla="*/ 76162 w 199986"/>
              <a:gd name="connsiteY36" fmla="*/ 0 h 199986"/>
              <a:gd name="connsiteX37" fmla="*/ 76162 w 199986"/>
              <a:gd name="connsiteY37" fmla="*/ 14288 h 199986"/>
              <a:gd name="connsiteX38" fmla="*/ 42824 w 199986"/>
              <a:gd name="connsiteY38" fmla="*/ 47625 h 199986"/>
              <a:gd name="connsiteX39" fmla="*/ 76162 w 199986"/>
              <a:gd name="connsiteY39" fmla="*/ 80963 h 199986"/>
              <a:gd name="connsiteX40" fmla="*/ 109499 w 199986"/>
              <a:gd name="connsiteY40" fmla="*/ 47625 h 199986"/>
              <a:gd name="connsiteX41" fmla="*/ 76162 w 199986"/>
              <a:gd name="connsiteY41" fmla="*/ 14288 h 199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9986" h="199986">
                <a:moveTo>
                  <a:pt x="147599" y="95212"/>
                </a:moveTo>
                <a:cubicBezTo>
                  <a:pt x="176533" y="95212"/>
                  <a:pt x="199987" y="118666"/>
                  <a:pt x="199987" y="147599"/>
                </a:cubicBezTo>
                <a:cubicBezTo>
                  <a:pt x="199987" y="176533"/>
                  <a:pt x="176533" y="199987"/>
                  <a:pt x="147599" y="199987"/>
                </a:cubicBezTo>
                <a:cubicBezTo>
                  <a:pt x="118666" y="199987"/>
                  <a:pt x="95212" y="176533"/>
                  <a:pt x="95212" y="147599"/>
                </a:cubicBezTo>
                <a:cubicBezTo>
                  <a:pt x="95212" y="118666"/>
                  <a:pt x="118666" y="95212"/>
                  <a:pt x="147599" y="95212"/>
                </a:cubicBezTo>
                <a:close/>
                <a:moveTo>
                  <a:pt x="122396" y="144228"/>
                </a:moveTo>
                <a:cubicBezTo>
                  <a:pt x="120505" y="142401"/>
                  <a:pt x="117489" y="142453"/>
                  <a:pt x="115662" y="144345"/>
                </a:cubicBezTo>
                <a:cubicBezTo>
                  <a:pt x="113880" y="146191"/>
                  <a:pt x="113880" y="149116"/>
                  <a:pt x="115662" y="150962"/>
                </a:cubicBezTo>
                <a:lnTo>
                  <a:pt x="134712" y="170012"/>
                </a:lnTo>
                <a:cubicBezTo>
                  <a:pt x="136571" y="171871"/>
                  <a:pt x="139586" y="171871"/>
                  <a:pt x="141446" y="170012"/>
                </a:cubicBezTo>
                <a:lnTo>
                  <a:pt x="179546" y="131912"/>
                </a:lnTo>
                <a:cubicBezTo>
                  <a:pt x="181373" y="130020"/>
                  <a:pt x="181321" y="127004"/>
                  <a:pt x="179429" y="125178"/>
                </a:cubicBezTo>
                <a:cubicBezTo>
                  <a:pt x="177583" y="123395"/>
                  <a:pt x="174658" y="123395"/>
                  <a:pt x="172812" y="125178"/>
                </a:cubicBezTo>
                <a:lnTo>
                  <a:pt x="138074" y="159915"/>
                </a:lnTo>
                <a:lnTo>
                  <a:pt x="122396" y="144228"/>
                </a:lnTo>
                <a:close/>
                <a:moveTo>
                  <a:pt x="95421" y="114262"/>
                </a:moveTo>
                <a:cubicBezTo>
                  <a:pt x="92571" y="118716"/>
                  <a:pt x="90304" y="123517"/>
                  <a:pt x="88678" y="128549"/>
                </a:cubicBezTo>
                <a:lnTo>
                  <a:pt x="21422" y="128549"/>
                </a:lnTo>
                <a:cubicBezTo>
                  <a:pt x="17482" y="128544"/>
                  <a:pt x="14283" y="131734"/>
                  <a:pt x="14278" y="135674"/>
                </a:cubicBezTo>
                <a:cubicBezTo>
                  <a:pt x="14278" y="135681"/>
                  <a:pt x="14278" y="135686"/>
                  <a:pt x="14278" y="135693"/>
                </a:cubicBezTo>
                <a:lnTo>
                  <a:pt x="14278" y="141189"/>
                </a:lnTo>
                <a:cubicBezTo>
                  <a:pt x="14278" y="146294"/>
                  <a:pt x="16107" y="151228"/>
                  <a:pt x="19421" y="155105"/>
                </a:cubicBezTo>
                <a:cubicBezTo>
                  <a:pt x="31356" y="169088"/>
                  <a:pt x="50082" y="176193"/>
                  <a:pt x="76162" y="176193"/>
                </a:cubicBezTo>
                <a:cubicBezTo>
                  <a:pt x="81848" y="176193"/>
                  <a:pt x="87173" y="175851"/>
                  <a:pt x="92164" y="175184"/>
                </a:cubicBezTo>
                <a:cubicBezTo>
                  <a:pt x="94498" y="179899"/>
                  <a:pt x="97431" y="184261"/>
                  <a:pt x="100851" y="188195"/>
                </a:cubicBezTo>
                <a:cubicBezTo>
                  <a:pt x="93269" y="189719"/>
                  <a:pt x="85039" y="190481"/>
                  <a:pt x="76162" y="190481"/>
                </a:cubicBezTo>
                <a:cubicBezTo>
                  <a:pt x="46196" y="190481"/>
                  <a:pt x="23470" y="181861"/>
                  <a:pt x="8553" y="164382"/>
                </a:cubicBezTo>
                <a:cubicBezTo>
                  <a:pt x="3033" y="157916"/>
                  <a:pt x="0" y="149692"/>
                  <a:pt x="0" y="141189"/>
                </a:cubicBezTo>
                <a:lnTo>
                  <a:pt x="0" y="135693"/>
                </a:lnTo>
                <a:cubicBezTo>
                  <a:pt x="-5" y="123862"/>
                  <a:pt x="9581" y="114268"/>
                  <a:pt x="21412" y="114262"/>
                </a:cubicBezTo>
                <a:cubicBezTo>
                  <a:pt x="21415" y="114262"/>
                  <a:pt x="21419" y="114262"/>
                  <a:pt x="21422" y="114262"/>
                </a:cubicBezTo>
                <a:lnTo>
                  <a:pt x="95431" y="114262"/>
                </a:lnTo>
                <a:close/>
                <a:moveTo>
                  <a:pt x="76162" y="0"/>
                </a:moveTo>
                <a:cubicBezTo>
                  <a:pt x="102464" y="0"/>
                  <a:pt x="123787" y="21322"/>
                  <a:pt x="123787" y="47625"/>
                </a:cubicBezTo>
                <a:cubicBezTo>
                  <a:pt x="123787" y="73928"/>
                  <a:pt x="102464" y="95250"/>
                  <a:pt x="76162" y="95250"/>
                </a:cubicBezTo>
                <a:cubicBezTo>
                  <a:pt x="49859" y="95250"/>
                  <a:pt x="28537" y="73928"/>
                  <a:pt x="28537" y="47625"/>
                </a:cubicBezTo>
                <a:cubicBezTo>
                  <a:pt x="28537" y="21322"/>
                  <a:pt x="49859" y="0"/>
                  <a:pt x="76162" y="0"/>
                </a:cubicBezTo>
                <a:close/>
                <a:moveTo>
                  <a:pt x="76162" y="14288"/>
                </a:moveTo>
                <a:cubicBezTo>
                  <a:pt x="57750" y="14288"/>
                  <a:pt x="42824" y="29213"/>
                  <a:pt x="42824" y="47625"/>
                </a:cubicBezTo>
                <a:cubicBezTo>
                  <a:pt x="42824" y="66037"/>
                  <a:pt x="57750" y="80963"/>
                  <a:pt x="76162" y="80963"/>
                </a:cubicBezTo>
                <a:cubicBezTo>
                  <a:pt x="94574" y="80963"/>
                  <a:pt x="109499" y="66037"/>
                  <a:pt x="109499" y="47625"/>
                </a:cubicBezTo>
                <a:cubicBezTo>
                  <a:pt x="109499" y="29213"/>
                  <a:pt x="94574" y="14288"/>
                  <a:pt x="76162" y="14288"/>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51" name="Rectangle: Top Corners Rounded 50">
            <a:extLst>
              <a:ext uri="{FF2B5EF4-FFF2-40B4-BE49-F238E27FC236}">
                <a16:creationId xmlns:a16="http://schemas.microsoft.com/office/drawing/2014/main" id="{E18E10E9-10CB-6F28-13D4-8642F8219D0D}"/>
              </a:ext>
            </a:extLst>
          </p:cNvPr>
          <p:cNvSpPr/>
          <p:nvPr/>
        </p:nvSpPr>
        <p:spPr bwMode="auto">
          <a:xfrm flipH="1">
            <a:off x="3170731" y="4361760"/>
            <a:ext cx="8361632" cy="210312"/>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0" tIns="0" rIns="0" bIns="0" rtlCol="0" anchor="ctr" anchorCtr="0">
            <a:norm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aphicFrame>
        <p:nvGraphicFramePr>
          <p:cNvPr id="3" name="Table 2">
            <a:extLst>
              <a:ext uri="{FF2B5EF4-FFF2-40B4-BE49-F238E27FC236}">
                <a16:creationId xmlns:a16="http://schemas.microsoft.com/office/drawing/2014/main" id="{4A02FD60-247B-7AC3-B2C9-AABA974D919E}"/>
              </a:ext>
            </a:extLst>
          </p:cNvPr>
          <p:cNvGraphicFramePr>
            <a:graphicFrameLocks noGrp="1"/>
          </p:cNvGraphicFramePr>
          <p:nvPr>
            <p:extLst>
              <p:ext uri="{D42A27DB-BD31-4B8C-83A1-F6EECF244321}">
                <p14:modId xmlns:p14="http://schemas.microsoft.com/office/powerpoint/2010/main" val="1096354849"/>
              </p:ext>
            </p:extLst>
          </p:nvPr>
        </p:nvGraphicFramePr>
        <p:xfrm>
          <a:off x="3170731" y="4361760"/>
          <a:ext cx="8361632" cy="1689608"/>
        </p:xfrm>
        <a:graphic>
          <a:graphicData uri="http://schemas.openxmlformats.org/drawingml/2006/table">
            <a:tbl>
              <a:tblPr firstRow="1" bandRow="1">
                <a:tableStyleId>{5C22544A-7EE6-4342-B048-85BDC9FD1C3A}</a:tableStyleId>
              </a:tblPr>
              <a:tblGrid>
                <a:gridCol w="1081229">
                  <a:extLst>
                    <a:ext uri="{9D8B030D-6E8A-4147-A177-3AD203B41FA5}">
                      <a16:colId xmlns:a16="http://schemas.microsoft.com/office/drawing/2014/main" val="1464606022"/>
                    </a:ext>
                  </a:extLst>
                </a:gridCol>
                <a:gridCol w="1280160">
                  <a:extLst>
                    <a:ext uri="{9D8B030D-6E8A-4147-A177-3AD203B41FA5}">
                      <a16:colId xmlns:a16="http://schemas.microsoft.com/office/drawing/2014/main" val="2911697903"/>
                    </a:ext>
                  </a:extLst>
                </a:gridCol>
                <a:gridCol w="1836420">
                  <a:extLst>
                    <a:ext uri="{9D8B030D-6E8A-4147-A177-3AD203B41FA5}">
                      <a16:colId xmlns:a16="http://schemas.microsoft.com/office/drawing/2014/main" val="246450982"/>
                    </a:ext>
                  </a:extLst>
                </a:gridCol>
                <a:gridCol w="2042160">
                  <a:extLst>
                    <a:ext uri="{9D8B030D-6E8A-4147-A177-3AD203B41FA5}">
                      <a16:colId xmlns:a16="http://schemas.microsoft.com/office/drawing/2014/main" val="386935525"/>
                    </a:ext>
                  </a:extLst>
                </a:gridCol>
                <a:gridCol w="2121663">
                  <a:extLst>
                    <a:ext uri="{9D8B030D-6E8A-4147-A177-3AD203B41FA5}">
                      <a16:colId xmlns:a16="http://schemas.microsoft.com/office/drawing/2014/main" val="4269272687"/>
                    </a:ext>
                  </a:extLst>
                </a:gridCol>
              </a:tblGrid>
              <a:tr h="113085">
                <a:tc>
                  <a:txBody>
                    <a:bodyPr/>
                    <a:lstStyle/>
                    <a:p>
                      <a:pPr marL="0" algn="l" defTabSz="932742" rtl="0" eaLnBrk="1" latinLnBrk="0" hangingPunct="1"/>
                      <a:r>
                        <a:rPr lang="en-US" sz="900" b="0" kern="1200" noProof="0" dirty="0">
                          <a:solidFill>
                            <a:schemeClr val="bg1"/>
                          </a:solidFill>
                          <a:latin typeface="+mj-lt"/>
                          <a:ea typeface="+mn-ea"/>
                          <a:cs typeface="+mn-cs"/>
                        </a:rPr>
                        <a:t>Process</a:t>
                      </a:r>
                    </a:p>
                  </a:txBody>
                  <a:tcPr marT="36576" marB="36576"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noProof="0" dirty="0">
                          <a:solidFill>
                            <a:schemeClr val="bg1"/>
                          </a:solidFill>
                          <a:latin typeface="+mj-lt"/>
                        </a:rPr>
                        <a:t>Start</a:t>
                      </a: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noProof="0">
                          <a:solidFill>
                            <a:schemeClr val="bg1"/>
                          </a:solidFill>
                          <a:latin typeface="+mj-lt"/>
                        </a:rPr>
                        <a:t>Buy</a:t>
                      </a: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noProof="0">
                          <a:solidFill>
                            <a:schemeClr val="bg1"/>
                          </a:solidFill>
                          <a:latin typeface="+mj-lt"/>
                        </a:rPr>
                        <a:t>Extend</a:t>
                      </a: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noProof="0">
                          <a:solidFill>
                            <a:schemeClr val="bg1"/>
                          </a:solidFill>
                          <a:latin typeface="+mj-lt"/>
                        </a:rPr>
                        <a:t>Build</a:t>
                      </a:r>
                    </a:p>
                  </a:txBody>
                  <a:tcPr marT="36576" marB="36576"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46526871"/>
                  </a:ext>
                </a:extLst>
              </a:tr>
              <a:tr h="184105">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Segoe UI Semibold" panose="020B0502040204020203" pitchFamily="34" charset="0"/>
                        </a:rPr>
                        <a:t>Marketing and promotions</a:t>
                      </a:r>
                    </a:p>
                  </a:txBody>
                  <a:tcPr marT="36576" marB="36576"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2713" indent="-112713">
                        <a:spcAft>
                          <a:spcPts val="200"/>
                        </a:spcAft>
                        <a:buClr>
                          <a:schemeClr val="tx1"/>
                        </a:buClr>
                        <a:buFont typeface="Arial" panose="020B0604020202020204" pitchFamily="34" charset="0"/>
                        <a:buChar char="•"/>
                      </a:pPr>
                      <a:r>
                        <a:rPr lang="en-US" sz="800" b="0" noProof="0" dirty="0">
                          <a:solidFill>
                            <a:srgbClr val="8661C5"/>
                          </a:solidFill>
                          <a:latin typeface="+mn-lt"/>
                          <a:hlinkClick r:id="rId3" action="ppaction://hlinksldjump"/>
                        </a:rPr>
                        <a:t>Creating promotions</a:t>
                      </a: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4" action="ppaction://hlinksldjump"/>
                        </a:rPr>
                        <a:t>Track marketing campaign performance</a:t>
                      </a: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a:ln>
                            <a:noFill/>
                          </a:ln>
                          <a:solidFill>
                            <a:srgbClr val="0070C0"/>
                          </a:solidFill>
                          <a:effectLst/>
                          <a:uLnTx/>
                          <a:uFillTx/>
                          <a:latin typeface="+mn-lt"/>
                          <a:ea typeface="+mn-ea"/>
                          <a:cs typeface="Segoe UI" panose="020B0502040204020203" pitchFamily="34" charset="0"/>
                          <a:hlinkClick r:id="rId5" action="ppaction://hlinksldjump"/>
                        </a:rPr>
                        <a:t>Implement adaptive pricing</a:t>
                      </a:r>
                      <a:endParaRPr kumimoji="0" lang="en-US" sz="800" b="0" i="0" u="none" strike="noStrike" kern="1200" cap="none" spc="0" normalizeH="0" baseline="0" noProof="0">
                        <a:ln>
                          <a:noFill/>
                        </a:ln>
                        <a:solidFill>
                          <a:srgbClr val="0070C0"/>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a:ln>
                            <a:noFill/>
                          </a:ln>
                          <a:solidFill>
                            <a:srgbClr val="0070C0"/>
                          </a:solidFill>
                          <a:effectLst/>
                          <a:uLnTx/>
                          <a:uFillTx/>
                          <a:latin typeface="+mn-lt"/>
                          <a:ea typeface="+mn-ea"/>
                          <a:cs typeface="Segoe UI" panose="020B0502040204020203" pitchFamily="34" charset="0"/>
                          <a:hlinkClick r:id="rId6" action="ppaction://hlinksldjump"/>
                        </a:rPr>
                        <a:t>Craft targeted marketing campaigns</a:t>
                      </a:r>
                      <a:endParaRPr lang="en-US" sz="800" b="0" noProof="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7" action="ppaction://hlinksldjump"/>
                        </a:rPr>
                        <a:t>Create personalized shopping journeys</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None/>
                        <a:tabLst/>
                        <a:defRPr/>
                      </a:pP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42407484"/>
                  </a:ext>
                </a:extLst>
              </a:tr>
              <a:tr h="17044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Segoe UI Semibold" panose="020B0502040204020203" pitchFamily="34" charset="0"/>
                        </a:rPr>
                        <a:t>Merchandising and Supply Chain</a:t>
                      </a:r>
                    </a:p>
                  </a:txBody>
                  <a:tcPr marT="36576" marB="36576"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2713" marR="0" lvl="0" indent="-112713"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lang="en-US" sz="800" b="0" noProof="0" dirty="0">
                          <a:solidFill>
                            <a:srgbClr val="8661C5"/>
                          </a:solidFill>
                          <a:latin typeface="+mn-lt"/>
                          <a:hlinkClick r:id="rId8" action="ppaction://hlinksldjump"/>
                        </a:rPr>
                        <a:t>Identify new product options</a:t>
                      </a: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indent="-114300">
                        <a:spcAft>
                          <a:spcPts val="200"/>
                        </a:spcAft>
                        <a:buClr>
                          <a:schemeClr val="tx1"/>
                        </a:buClr>
                        <a:buFont typeface="Arial" panose="020B0604020202020204" pitchFamily="34" charset="0"/>
                        <a:buChar cha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9" action="ppaction://hlinksldjump"/>
                        </a:rPr>
                        <a:t>Streamline market research and strategy</a:t>
                      </a: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10" action="ppaction://hlinksldjump"/>
                        </a:rPr>
                        <a:t>Optimize supply chain management</a:t>
                      </a:r>
                      <a:endParaRPr lang="en-US" sz="800" b="0" noProof="0" dirty="0">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11" action="ppaction://hlinksldjump"/>
                        </a:rPr>
                        <a:t>Improve merchandising decisions</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12" action="ppaction://hlinksldjump"/>
                        </a:rPr>
                        <a:t>Reduce sourcing compliance risk</a:t>
                      </a:r>
                      <a:endParaRPr lang="en-US" sz="800" b="0" noProof="0" dirty="0">
                        <a:solidFill>
                          <a:schemeClr val="tx1"/>
                        </a:solidFill>
                        <a:latin typeface="+mn-lt"/>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hlinkClick r:id="rId13" action="ppaction://hlinksldjump"/>
                        </a:rPr>
                        <a:t>Fashion design agent</a:t>
                      </a:r>
                      <a:endParaRPr lang="en-US" sz="800" b="0" kern="1200" noProof="0" dirty="0">
                        <a:solidFill>
                          <a:schemeClr val="tx1"/>
                        </a:solidFill>
                        <a:latin typeface="+mn-lt"/>
                        <a:ea typeface="+mn-ea"/>
                        <a:cs typeface="+mn-cs"/>
                      </a:endParaRPr>
                    </a:p>
                    <a:p>
                      <a:pPr marL="0" marR="0" lvl="0" indent="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None/>
                        <a:tabLst/>
                        <a:defRPr/>
                      </a:pP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73384838"/>
                  </a:ext>
                </a:extLst>
              </a:tr>
              <a:tr h="26332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Segoe UI Semibold" panose="020B0502040204020203" pitchFamily="34" charset="0"/>
                        </a:rPr>
                        <a:t>Store operations</a:t>
                      </a:r>
                    </a:p>
                  </a:txBody>
                  <a:tcPr marT="36576" marB="36576"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114300" indent="-114300">
                        <a:spcAft>
                          <a:spcPts val="200"/>
                        </a:spcAft>
                        <a:buClr>
                          <a:schemeClr val="tx1"/>
                        </a:buClr>
                        <a:buFont typeface="Arial" panose="020B0604020202020204" pitchFamily="34" charset="0"/>
                        <a:buChar cha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14" action="ppaction://hlinksldjump"/>
                        </a:rPr>
                        <a:t>Assist store managers</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15" action="ppaction://hlinksldjump"/>
                        </a:rPr>
                        <a:t>Assist store associates</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171450" marR="0" lvl="0" indent="-17145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16" action="ppaction://hlinksldjump"/>
                        </a:rPr>
                        <a:t>Improve store associate management</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114300" indent="-114300">
                        <a:spcAft>
                          <a:spcPts val="200"/>
                        </a:spcAft>
                        <a:buClr>
                          <a:schemeClr val="tx1"/>
                        </a:buClr>
                        <a:buFont typeface="Arial" panose="020B0604020202020204" pitchFamily="34" charset="0"/>
                        <a:buChar cha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17" action="ppaction://hlinksldjump"/>
                        </a:rPr>
                        <a:t>Maximize store performance</a:t>
                      </a:r>
                      <a:endParaRPr lang="en-US" sz="800" b="0" noProof="0" dirty="0">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114300" indent="-114300">
                        <a:spcAft>
                          <a:spcPts val="200"/>
                        </a:spcAft>
                        <a:buClr>
                          <a:schemeClr val="tx1"/>
                        </a:buClr>
                        <a:buFont typeface="Arial" panose="020B0604020202020204" pitchFamily="34" charset="0"/>
                        <a:buChar cha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18" action="ppaction://hlinksldjump"/>
                        </a:rPr>
                        <a:t>Improve retail store operations</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19" action="ppaction://hlinksldjump"/>
                        </a:rPr>
                        <a:t>Improve customer service and info discovery</a:t>
                      </a:r>
                      <a:endParaRPr lang="en-US" sz="800" b="0" noProof="0" dirty="0">
                        <a:solidFill>
                          <a:schemeClr val="tx1"/>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94476742"/>
                  </a:ext>
                </a:extLst>
              </a:tr>
            </a:tbl>
          </a:graphicData>
        </a:graphic>
      </p:graphicFrame>
      <p:pic>
        <p:nvPicPr>
          <p:cNvPr id="32" name="Picture 31">
            <a:extLst>
              <a:ext uri="{FF2B5EF4-FFF2-40B4-BE49-F238E27FC236}">
                <a16:creationId xmlns:a16="http://schemas.microsoft.com/office/drawing/2014/main" id="{0C975E43-5E5A-D8BC-EC50-17C145D5D800}"/>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2250642" y="2857718"/>
            <a:ext cx="685800" cy="685800"/>
          </a:xfrm>
          <a:prstGeom prst="roundRect">
            <a:avLst/>
          </a:prstGeom>
          <a:ln w="6350">
            <a:solidFill>
              <a:schemeClr val="bg1">
                <a:lumMod val="95000"/>
              </a:schemeClr>
            </a:solidFill>
          </a:ln>
          <a:effectLst>
            <a:outerShdw blurRad="127000" dist="127000" dir="2700000" algn="tl" rotWithShape="0">
              <a:prstClr val="black">
                <a:alpha val="20000"/>
              </a:prstClr>
            </a:outerShdw>
          </a:effectLst>
        </p:spPr>
      </p:pic>
      <p:pic>
        <p:nvPicPr>
          <p:cNvPr id="36" name="Picture 35">
            <a:extLst>
              <a:ext uri="{FF2B5EF4-FFF2-40B4-BE49-F238E27FC236}">
                <a16:creationId xmlns:a16="http://schemas.microsoft.com/office/drawing/2014/main" id="{C893FE82-EB0F-B37F-08F4-7C87EE36813E}"/>
              </a:ext>
            </a:extLst>
          </p:cNvPr>
          <p:cNvPicPr>
            <a:picLocks noChangeAspect="1"/>
          </p:cNvPicPr>
          <p:nvPr/>
        </p:nvPicPr>
        <p:blipFill rotWithShape="1">
          <a:blip r:embed="rId21" cstate="screen">
            <a:extLst>
              <a:ext uri="{28A0092B-C50C-407E-A947-70E740481C1C}">
                <a14:useLocalDpi xmlns:a14="http://schemas.microsoft.com/office/drawing/2010/main"/>
              </a:ext>
            </a:extLst>
          </a:blip>
          <a:srcRect/>
          <a:stretch/>
        </p:blipFill>
        <p:spPr>
          <a:xfrm>
            <a:off x="5074756" y="2857718"/>
            <a:ext cx="685800" cy="685800"/>
          </a:xfrm>
          <a:prstGeom prst="roundRect">
            <a:avLst/>
          </a:prstGeom>
          <a:ln w="6350">
            <a:solidFill>
              <a:schemeClr val="bg1">
                <a:lumMod val="95000"/>
              </a:schemeClr>
            </a:solidFill>
          </a:ln>
          <a:effectLst>
            <a:outerShdw blurRad="127000" dist="127000" dir="2700000" algn="tl" rotWithShape="0">
              <a:prstClr val="black">
                <a:alpha val="20000"/>
              </a:prstClr>
            </a:outerShdw>
          </a:effectLst>
        </p:spPr>
      </p:pic>
      <p:pic>
        <p:nvPicPr>
          <p:cNvPr id="38" name="Picture 37">
            <a:extLst>
              <a:ext uri="{FF2B5EF4-FFF2-40B4-BE49-F238E27FC236}">
                <a16:creationId xmlns:a16="http://schemas.microsoft.com/office/drawing/2014/main" id="{113D46DC-47E3-B7AC-5767-C8A61EA562EB}"/>
              </a:ext>
            </a:extLst>
          </p:cNvPr>
          <p:cNvPicPr>
            <a:picLocks noChangeAspect="1"/>
          </p:cNvPicPr>
          <p:nvPr/>
        </p:nvPicPr>
        <p:blipFill rotWithShape="1">
          <a:blip r:embed="rId22" cstate="screen">
            <a:extLst>
              <a:ext uri="{28A0092B-C50C-407E-A947-70E740481C1C}">
                <a14:useLocalDpi xmlns:a14="http://schemas.microsoft.com/office/drawing/2010/main"/>
              </a:ext>
            </a:extLst>
          </a:blip>
          <a:srcRect/>
          <a:stretch/>
        </p:blipFill>
        <p:spPr>
          <a:xfrm>
            <a:off x="3246781" y="2857718"/>
            <a:ext cx="685800" cy="685800"/>
          </a:xfrm>
          <a:prstGeom prst="roundRect">
            <a:avLst/>
          </a:prstGeom>
          <a:ln w="6350">
            <a:solidFill>
              <a:schemeClr val="bg1">
                <a:lumMod val="95000"/>
              </a:schemeClr>
            </a:solidFill>
          </a:ln>
          <a:effectLst>
            <a:outerShdw blurRad="127000" dist="127000" dir="2700000" algn="tl" rotWithShape="0">
              <a:prstClr val="black">
                <a:alpha val="20000"/>
              </a:prstClr>
            </a:outerShdw>
          </a:effectLst>
        </p:spPr>
      </p:pic>
      <p:pic>
        <p:nvPicPr>
          <p:cNvPr id="40" name="Picture 39">
            <a:extLst>
              <a:ext uri="{FF2B5EF4-FFF2-40B4-BE49-F238E27FC236}">
                <a16:creationId xmlns:a16="http://schemas.microsoft.com/office/drawing/2014/main" id="{8FBAC341-CCF9-BD5E-FEE2-2548EFED6967}"/>
              </a:ext>
            </a:extLst>
          </p:cNvPr>
          <p:cNvPicPr>
            <a:picLocks noChangeAspect="1"/>
          </p:cNvPicPr>
          <p:nvPr/>
        </p:nvPicPr>
        <p:blipFill rotWithShape="1">
          <a:blip r:embed="rId23" cstate="screen">
            <a:extLst>
              <a:ext uri="{28A0092B-C50C-407E-A947-70E740481C1C}">
                <a14:useLocalDpi xmlns:a14="http://schemas.microsoft.com/office/drawing/2010/main"/>
              </a:ext>
            </a:extLst>
          </a:blip>
          <a:srcRect t="-119"/>
          <a:stretch/>
        </p:blipFill>
        <p:spPr>
          <a:xfrm>
            <a:off x="4161735" y="2857718"/>
            <a:ext cx="685800" cy="685800"/>
          </a:xfrm>
          <a:prstGeom prst="roundRect">
            <a:avLst/>
          </a:prstGeom>
          <a:ln w="6350">
            <a:solidFill>
              <a:schemeClr val="bg1">
                <a:lumMod val="95000"/>
              </a:schemeClr>
            </a:solidFill>
          </a:ln>
          <a:effectLst>
            <a:outerShdw blurRad="127000" dist="127000" dir="2700000" algn="tl" rotWithShape="0">
              <a:prstClr val="black">
                <a:alpha val="20000"/>
              </a:prstClr>
            </a:outerShdw>
          </a:effectLst>
        </p:spPr>
      </p:pic>
      <p:sp>
        <p:nvSpPr>
          <p:cNvPr id="41" name="Text Placeholder 10">
            <a:extLst>
              <a:ext uri="{FF2B5EF4-FFF2-40B4-BE49-F238E27FC236}">
                <a16:creationId xmlns:a16="http://schemas.microsoft.com/office/drawing/2014/main" id="{14990A77-E0E4-CA56-85CC-122F5A66939F}"/>
              </a:ext>
            </a:extLst>
          </p:cNvPr>
          <p:cNvSpPr txBox="1">
            <a:spLocks/>
          </p:cNvSpPr>
          <p:nvPr/>
        </p:nvSpPr>
        <p:spPr>
          <a:xfrm>
            <a:off x="3204743" y="3598749"/>
            <a:ext cx="742377" cy="461665"/>
          </a:xfrm>
          <a:prstGeom prst="rect">
            <a:avLst/>
          </a:prstGeom>
        </p:spPr>
        <p:txBody>
          <a:bodyPr vert="horz" wrap="square" lIns="0" tIns="0" rIns="0" bIns="0" rtlCol="0">
            <a:spAutoFit/>
          </a:bodyPr>
          <a:lstStyle>
            <a:defPPr>
              <a:defRPr lang="en-US"/>
            </a:defPPr>
            <a:lvl1pPr marR="0" indent="0" defTabSz="582780" fontAlgn="auto">
              <a:lnSpc>
                <a:spcPct val="100000"/>
              </a:lnSpc>
              <a:spcBef>
                <a:spcPct val="0"/>
              </a:spcBef>
              <a:spcAft>
                <a:spcPts val="0"/>
              </a:spcAft>
              <a:buClrTx/>
              <a:buSzTx/>
              <a:buFont typeface="Wingdings" panose="05000000000000000000" pitchFamily="2" charset="2"/>
              <a:buNone/>
              <a:tabLst/>
              <a:defRPr sz="1000" spc="0" baseline="0">
                <a:solidFill>
                  <a:srgbClr val="000000"/>
                </a:solidFill>
                <a:latin typeface="+mj-lt"/>
                <a:cs typeface="Segoe UI Semilight" panose="020B04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rgbClr val="000000"/>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200" spc="0" baseline="0">
                <a:solidFill>
                  <a:srgbClr val="000000"/>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000" spc="0" baseline="0">
                <a:solidFill>
                  <a:srgbClr val="000000"/>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582780"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1000" b="0" i="0" u="none" strike="noStrike" kern="1200" cap="none" spc="0" normalizeH="0" baseline="0" noProof="0">
                <a:ln>
                  <a:noFill/>
                </a:ln>
                <a:gradFill>
                  <a:gsLst>
                    <a:gs pos="47000">
                      <a:srgbClr val="0078D4"/>
                    </a:gs>
                    <a:gs pos="0">
                      <a:srgbClr val="C03BC4"/>
                    </a:gs>
                  </a:gsLst>
                  <a:path path="circle">
                    <a:fillToRect l="100000" t="100000"/>
                  </a:path>
                </a:gradFill>
                <a:effectLst/>
                <a:uLnTx/>
                <a:uFillTx/>
                <a:latin typeface="Segoe UI Semibold"/>
                <a:ea typeface="+mn-ea"/>
                <a:cs typeface="Segoe UI Semilight" panose="020B0402040204020203" pitchFamily="34" charset="0"/>
              </a:rPr>
              <a:t>Merchandise Buyers and Planners</a:t>
            </a:r>
          </a:p>
        </p:txBody>
      </p:sp>
      <p:sp>
        <p:nvSpPr>
          <p:cNvPr id="42" name="Text Placeholder 10">
            <a:extLst>
              <a:ext uri="{FF2B5EF4-FFF2-40B4-BE49-F238E27FC236}">
                <a16:creationId xmlns:a16="http://schemas.microsoft.com/office/drawing/2014/main" id="{687104EB-4DFA-866C-27EA-55F4BC7FB31C}"/>
              </a:ext>
            </a:extLst>
          </p:cNvPr>
          <p:cNvSpPr txBox="1">
            <a:spLocks/>
          </p:cNvSpPr>
          <p:nvPr/>
        </p:nvSpPr>
        <p:spPr>
          <a:xfrm>
            <a:off x="2125999" y="3598749"/>
            <a:ext cx="935087" cy="461665"/>
          </a:xfrm>
          <a:prstGeom prst="rect">
            <a:avLst/>
          </a:prstGeom>
        </p:spPr>
        <p:txBody>
          <a:bodyPr vert="horz" wrap="square" lIns="0" tIns="0" rIns="0" bIns="0" rtlCol="0">
            <a:spAutoFit/>
          </a:bodyPr>
          <a:lstStyle>
            <a:defPPr>
              <a:defRPr lang="en-US"/>
            </a:defPPr>
            <a:lvl1pPr marR="0" indent="0" defTabSz="582780" fontAlgn="auto">
              <a:lnSpc>
                <a:spcPct val="100000"/>
              </a:lnSpc>
              <a:spcBef>
                <a:spcPct val="0"/>
              </a:spcBef>
              <a:spcAft>
                <a:spcPts val="0"/>
              </a:spcAft>
              <a:buClrTx/>
              <a:buSzTx/>
              <a:buFont typeface="Wingdings" panose="05000000000000000000" pitchFamily="2" charset="2"/>
              <a:buNone/>
              <a:tabLst/>
              <a:defRPr sz="1000" spc="0" baseline="0">
                <a:solidFill>
                  <a:srgbClr val="000000"/>
                </a:solidFill>
                <a:latin typeface="+mj-lt"/>
                <a:cs typeface="Segoe UI Semilight" panose="020B04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rgbClr val="000000"/>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200" spc="0" baseline="0">
                <a:solidFill>
                  <a:srgbClr val="000000"/>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000" spc="0" baseline="0">
                <a:solidFill>
                  <a:srgbClr val="000000"/>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582780"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1000" b="0" i="0" u="none" strike="noStrike" kern="1200" cap="none" spc="0" normalizeH="0" baseline="0" noProof="0">
                <a:ln>
                  <a:noFill/>
                </a:ln>
                <a:gradFill>
                  <a:gsLst>
                    <a:gs pos="47000">
                      <a:srgbClr val="0078D4"/>
                    </a:gs>
                    <a:gs pos="0">
                      <a:srgbClr val="C03BC4"/>
                    </a:gs>
                  </a:gsLst>
                  <a:path path="circle">
                    <a:fillToRect l="100000" t="100000"/>
                  </a:path>
                </a:gradFill>
                <a:effectLst/>
                <a:uLnTx/>
                <a:uFillTx/>
                <a:latin typeface="Segoe UI Semibold"/>
                <a:ea typeface="+mn-ea"/>
                <a:cs typeface="Segoe UI Semilight" panose="020B0402040204020203" pitchFamily="34" charset="0"/>
              </a:rPr>
              <a:t>Store Operations Manager</a:t>
            </a:r>
          </a:p>
        </p:txBody>
      </p:sp>
      <p:sp>
        <p:nvSpPr>
          <p:cNvPr id="43" name="Text Placeholder 10">
            <a:extLst>
              <a:ext uri="{FF2B5EF4-FFF2-40B4-BE49-F238E27FC236}">
                <a16:creationId xmlns:a16="http://schemas.microsoft.com/office/drawing/2014/main" id="{3693AA29-863B-9A87-30C3-2C535136B34E}"/>
              </a:ext>
            </a:extLst>
          </p:cNvPr>
          <p:cNvSpPr txBox="1">
            <a:spLocks/>
          </p:cNvSpPr>
          <p:nvPr/>
        </p:nvSpPr>
        <p:spPr>
          <a:xfrm>
            <a:off x="4052909" y="3598749"/>
            <a:ext cx="903453" cy="307777"/>
          </a:xfrm>
          <a:prstGeom prst="rect">
            <a:avLst/>
          </a:prstGeom>
        </p:spPr>
        <p:txBody>
          <a:bodyPr vert="horz" wrap="square" lIns="0" tIns="0" rIns="0" bIns="0" rtlCol="0">
            <a:spAutoFit/>
          </a:bodyPr>
          <a:lstStyle>
            <a:defPPr>
              <a:defRPr lang="en-US"/>
            </a:defPPr>
            <a:lvl1pPr marR="0" indent="0" defTabSz="582780" fontAlgn="auto">
              <a:lnSpc>
                <a:spcPct val="100000"/>
              </a:lnSpc>
              <a:spcBef>
                <a:spcPct val="0"/>
              </a:spcBef>
              <a:spcAft>
                <a:spcPts val="0"/>
              </a:spcAft>
              <a:buClrTx/>
              <a:buSzTx/>
              <a:buFont typeface="Wingdings" panose="05000000000000000000" pitchFamily="2" charset="2"/>
              <a:buNone/>
              <a:tabLst/>
              <a:defRPr sz="1000" spc="0" baseline="0">
                <a:solidFill>
                  <a:srgbClr val="000000"/>
                </a:solidFill>
                <a:latin typeface="+mj-lt"/>
                <a:cs typeface="Segoe UI Semilight" panose="020B04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rgbClr val="000000"/>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200" spc="0" baseline="0">
                <a:solidFill>
                  <a:srgbClr val="000000"/>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000" spc="0" baseline="0">
                <a:solidFill>
                  <a:srgbClr val="000000"/>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582780"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1000" b="0" i="0" u="none" strike="noStrike" kern="1200" cap="none" spc="0" normalizeH="0" baseline="0" noProof="0">
                <a:ln>
                  <a:noFill/>
                </a:ln>
                <a:gradFill>
                  <a:gsLst>
                    <a:gs pos="47000">
                      <a:srgbClr val="0078D4"/>
                    </a:gs>
                    <a:gs pos="0">
                      <a:srgbClr val="C03BC4"/>
                    </a:gs>
                  </a:gsLst>
                  <a:path path="circle">
                    <a:fillToRect l="100000" t="100000"/>
                  </a:path>
                </a:gradFill>
                <a:effectLst/>
                <a:uLnTx/>
                <a:uFillTx/>
                <a:latin typeface="Segoe UI Semibold"/>
                <a:ea typeface="+mn-ea"/>
                <a:cs typeface="Segoe UI Semilight" panose="020B0402040204020203" pitchFamily="34" charset="0"/>
              </a:rPr>
              <a:t>Supply Chain Manager</a:t>
            </a:r>
          </a:p>
        </p:txBody>
      </p:sp>
      <p:sp>
        <p:nvSpPr>
          <p:cNvPr id="44" name="Text Placeholder 10">
            <a:extLst>
              <a:ext uri="{FF2B5EF4-FFF2-40B4-BE49-F238E27FC236}">
                <a16:creationId xmlns:a16="http://schemas.microsoft.com/office/drawing/2014/main" id="{8A1CE68A-CC68-159D-4F2C-AB597FC86598}"/>
              </a:ext>
            </a:extLst>
          </p:cNvPr>
          <p:cNvSpPr txBox="1">
            <a:spLocks/>
          </p:cNvSpPr>
          <p:nvPr/>
        </p:nvSpPr>
        <p:spPr>
          <a:xfrm>
            <a:off x="5020113" y="3598749"/>
            <a:ext cx="795087" cy="307777"/>
          </a:xfrm>
          <a:prstGeom prst="rect">
            <a:avLst/>
          </a:prstGeom>
        </p:spPr>
        <p:txBody>
          <a:bodyPr vert="horz" wrap="square" lIns="0" tIns="0" rIns="0" bIns="0" rtlCol="0">
            <a:spAutoFit/>
          </a:bodyPr>
          <a:lstStyle>
            <a:defPPr>
              <a:defRPr lang="en-US"/>
            </a:defPPr>
            <a:lvl1pPr marR="0" indent="0" defTabSz="582780" fontAlgn="auto">
              <a:lnSpc>
                <a:spcPct val="100000"/>
              </a:lnSpc>
              <a:spcBef>
                <a:spcPct val="0"/>
              </a:spcBef>
              <a:spcAft>
                <a:spcPts val="0"/>
              </a:spcAft>
              <a:buClrTx/>
              <a:buSzTx/>
              <a:buFont typeface="Wingdings" panose="05000000000000000000" pitchFamily="2" charset="2"/>
              <a:buNone/>
              <a:tabLst/>
              <a:defRPr sz="1000" spc="0" baseline="0">
                <a:solidFill>
                  <a:srgbClr val="000000"/>
                </a:solidFill>
                <a:latin typeface="+mj-lt"/>
                <a:cs typeface="Segoe UI Semilight" panose="020B04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rgbClr val="000000"/>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200" spc="0" baseline="0">
                <a:solidFill>
                  <a:srgbClr val="000000"/>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000" spc="0" baseline="0">
                <a:solidFill>
                  <a:srgbClr val="000000"/>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582780"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1000" b="0" i="0" u="none" strike="noStrike" kern="1200" cap="none" spc="0" normalizeH="0" baseline="0" noProof="0">
                <a:ln>
                  <a:noFill/>
                </a:ln>
                <a:gradFill>
                  <a:gsLst>
                    <a:gs pos="47000">
                      <a:srgbClr val="0078D4"/>
                    </a:gs>
                    <a:gs pos="0">
                      <a:srgbClr val="C03BC4"/>
                    </a:gs>
                  </a:gsLst>
                  <a:path path="circle">
                    <a:fillToRect l="100000" t="100000"/>
                  </a:path>
                </a:gradFill>
                <a:effectLst/>
                <a:uLnTx/>
                <a:uFillTx/>
                <a:latin typeface="Segoe UI Semibold"/>
                <a:ea typeface="+mn-ea"/>
                <a:cs typeface="Segoe UI Semilight" panose="020B0402040204020203" pitchFamily="34" charset="0"/>
              </a:rPr>
              <a:t>Marketing Manager</a:t>
            </a:r>
          </a:p>
        </p:txBody>
      </p:sp>
    </p:spTree>
    <p:extLst>
      <p:ext uri="{BB962C8B-B14F-4D97-AF65-F5344CB8AC3E}">
        <p14:creationId xmlns:p14="http://schemas.microsoft.com/office/powerpoint/2010/main" val="218199159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CB8653-2A93-34C0-DF03-FFA00B2E6A7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BE9996-F810-BDC9-01C6-320C31D8A056}"/>
              </a:ext>
            </a:extLst>
          </p:cNvPr>
          <p:cNvSpPr>
            <a:spLocks noGrp="1"/>
          </p:cNvSpPr>
          <p:nvPr>
            <p:ph type="title"/>
          </p:nvPr>
        </p:nvSpPr>
        <p:spPr>
          <a:xfrm>
            <a:off x="588263" y="457200"/>
            <a:ext cx="11018520" cy="430887"/>
          </a:xfrm>
        </p:spPr>
        <p:txBody>
          <a:bodyPr/>
          <a:lstStyle/>
          <a:p>
            <a:r>
              <a:rPr lang="en-US" sz="2800" noProof="0" dirty="0"/>
              <a:t>Deliver personalized shopping experiences</a:t>
            </a:r>
          </a:p>
        </p:txBody>
      </p:sp>
      <p:sp>
        <p:nvSpPr>
          <p:cNvPr id="16" name="Rounded Rectangle 53">
            <a:extLst>
              <a:ext uri="{FF2B5EF4-FFF2-40B4-BE49-F238E27FC236}">
                <a16:creationId xmlns:a16="http://schemas.microsoft.com/office/drawing/2014/main" id="{D1E1F9FC-C53B-93BC-1104-6BB4B12297AA}"/>
              </a:ext>
            </a:extLst>
          </p:cNvPr>
          <p:cNvSpPr>
            <a:spLocks/>
          </p:cNvSpPr>
          <p:nvPr/>
        </p:nvSpPr>
        <p:spPr bwMode="auto">
          <a:xfrm>
            <a:off x="574011" y="1484412"/>
            <a:ext cx="10950215" cy="1223010"/>
          </a:xfrm>
          <a:prstGeom prst="roundRect">
            <a:avLst>
              <a:gd name="adj" fmla="val 6100"/>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t" anchorCtr="0" forceAA="0" compatLnSpc="1">
            <a:prstTxWarp prst="textNoShape">
              <a:avLst/>
            </a:prstTxWarp>
            <a:noAutofit/>
          </a:bodyPr>
          <a:lstStyle/>
          <a:p>
            <a:pPr marL="0" marR="0" lvl="0" indent="0" algn="l" defTabSz="582780" rtl="0" eaLnBrk="1" fontAlgn="auto"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srgbClr val="424242"/>
                </a:solidFill>
                <a:effectLst/>
                <a:uLnTx/>
                <a:uFillTx/>
                <a:latin typeface="Segoe Sans"/>
                <a:ea typeface="+mn-ea"/>
                <a:cs typeface="+mn-cs"/>
              </a:rPr>
              <a:t>AI can significantly enhance marketing and promotions for retail organizations by enabling hyper-personalized marketing at scale, automating routine tasks, and providing predictive analytics. It helps retailers understand customer behavior, optimize supply chains, and make data-driven decisions to reduce waste and maximize profit. AI-driven recommendations and virtual agents improve customer experience by providing personalized assistance and support.</a:t>
            </a:r>
            <a:endParaRPr kumimoji="0" lang="en-US" sz="1200" b="0" i="0" u="none" strike="noStrike" kern="1200" cap="none" spc="0" normalizeH="0" baseline="0" noProof="0" dirty="0">
              <a:ln>
                <a:noFill/>
              </a:ln>
              <a:solidFill>
                <a:srgbClr val="000000"/>
              </a:solidFill>
              <a:effectLst/>
              <a:uLnTx/>
              <a:uFillTx/>
              <a:latin typeface="Segoe UI"/>
              <a:ea typeface="+mn-ea"/>
              <a:cs typeface="Segoe UI Semilight"/>
            </a:endParaRPr>
          </a:p>
        </p:txBody>
      </p:sp>
      <p:sp>
        <p:nvSpPr>
          <p:cNvPr id="28" name="Rectangle: Top Corners Rounded 27">
            <a:extLst>
              <a:ext uri="{FF2B5EF4-FFF2-40B4-BE49-F238E27FC236}">
                <a16:creationId xmlns:a16="http://schemas.microsoft.com/office/drawing/2014/main" id="{B48312D3-1EF9-812B-297B-50B88793E488}"/>
              </a:ext>
            </a:extLst>
          </p:cNvPr>
          <p:cNvSpPr/>
          <p:nvPr/>
        </p:nvSpPr>
        <p:spPr bwMode="auto">
          <a:xfrm flipH="1">
            <a:off x="5185591" y="2686640"/>
            <a:ext cx="6338638"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n-ea"/>
                <a:cs typeface="Segoe UI Semibold" panose="020B0502040204020203" pitchFamily="34" charset="0"/>
              </a:rPr>
              <a:t>Use Cases</a:t>
            </a:r>
          </a:p>
        </p:txBody>
      </p:sp>
      <p:graphicFrame>
        <p:nvGraphicFramePr>
          <p:cNvPr id="4" name="Table 3">
            <a:extLst>
              <a:ext uri="{FF2B5EF4-FFF2-40B4-BE49-F238E27FC236}">
                <a16:creationId xmlns:a16="http://schemas.microsoft.com/office/drawing/2014/main" id="{B33BD64F-8FD9-328C-D028-74CEA57C327C}"/>
              </a:ext>
            </a:extLst>
          </p:cNvPr>
          <p:cNvGraphicFramePr>
            <a:graphicFrameLocks noGrp="1"/>
          </p:cNvGraphicFramePr>
          <p:nvPr>
            <p:extLst>
              <p:ext uri="{D42A27DB-BD31-4B8C-83A1-F6EECF244321}">
                <p14:modId xmlns:p14="http://schemas.microsoft.com/office/powerpoint/2010/main" val="441670812"/>
              </p:ext>
            </p:extLst>
          </p:nvPr>
        </p:nvGraphicFramePr>
        <p:xfrm>
          <a:off x="5185591" y="2994615"/>
          <a:ext cx="6338635" cy="2383682"/>
        </p:xfrm>
        <a:graphic>
          <a:graphicData uri="http://schemas.openxmlformats.org/drawingml/2006/table">
            <a:tbl>
              <a:tblPr firstRow="1" bandRow="1">
                <a:tableStyleId>{5C22544A-7EE6-4342-B048-85BDC9FD1C3A}</a:tableStyleId>
              </a:tblPr>
              <a:tblGrid>
                <a:gridCol w="1331082">
                  <a:extLst>
                    <a:ext uri="{9D8B030D-6E8A-4147-A177-3AD203B41FA5}">
                      <a16:colId xmlns:a16="http://schemas.microsoft.com/office/drawing/2014/main" val="541573232"/>
                    </a:ext>
                  </a:extLst>
                </a:gridCol>
                <a:gridCol w="1678510">
                  <a:extLst>
                    <a:ext uri="{9D8B030D-6E8A-4147-A177-3AD203B41FA5}">
                      <a16:colId xmlns:a16="http://schemas.microsoft.com/office/drawing/2014/main" val="213537445"/>
                    </a:ext>
                  </a:extLst>
                </a:gridCol>
                <a:gridCol w="1688435">
                  <a:extLst>
                    <a:ext uri="{9D8B030D-6E8A-4147-A177-3AD203B41FA5}">
                      <a16:colId xmlns:a16="http://schemas.microsoft.com/office/drawing/2014/main" val="4253899296"/>
                    </a:ext>
                  </a:extLst>
                </a:gridCol>
                <a:gridCol w="1640608">
                  <a:extLst>
                    <a:ext uri="{9D8B030D-6E8A-4147-A177-3AD203B41FA5}">
                      <a16:colId xmlns:a16="http://schemas.microsoft.com/office/drawing/2014/main" val="3573951510"/>
                    </a:ext>
                  </a:extLst>
                </a:gridCol>
              </a:tblGrid>
              <a:tr h="148205">
                <a:tc>
                  <a:txBody>
                    <a:bodyPr/>
                    <a:lstStyle/>
                    <a:p>
                      <a:pPr>
                        <a:lnSpc>
                          <a:spcPct val="100000"/>
                        </a:lnSpc>
                      </a:pPr>
                      <a:r>
                        <a:rPr lang="en-US" sz="1000" b="0" spc="0" noProof="0" dirty="0">
                          <a:solidFill>
                            <a:schemeClr val="accent3"/>
                          </a:solidFill>
                          <a:latin typeface="+mj-lt"/>
                        </a:rPr>
                        <a:t>Start</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spc="0" noProof="0">
                          <a:solidFill>
                            <a:schemeClr val="accent3"/>
                          </a:solidFill>
                          <a:latin typeface="+mj-lt"/>
                        </a:rPr>
                        <a:t>Buy</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spc="0" noProof="0">
                          <a:solidFill>
                            <a:schemeClr val="accent3"/>
                          </a:solidFill>
                          <a:latin typeface="+mj-lt"/>
                        </a:rPr>
                        <a:t>Extend</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spc="0" noProof="0">
                          <a:solidFill>
                            <a:schemeClr val="accent3"/>
                          </a:solidFill>
                          <a:latin typeface="+mj-lt"/>
                        </a:rPr>
                        <a:t>Build</a:t>
                      </a:r>
                    </a:p>
                  </a:txBody>
                  <a:tcPr marL="45720" marR="45720">
                    <a:lnL w="6350" cap="flat" cmpd="sng" algn="ctr">
                      <a:solidFill>
                        <a:schemeClr val="bg1">
                          <a:lumMod val="85000"/>
                        </a:schemeClr>
                      </a:solidFill>
                      <a:prstDash val="solid"/>
                      <a:round/>
                      <a:headEnd type="none" w="med" len="med"/>
                      <a:tailEnd type="none" w="med" len="med"/>
                    </a:lnL>
                    <a:lnR w="12700" cmpd="sng">
                      <a:noFill/>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0387161"/>
                  </a:ext>
                </a:extLst>
              </a:tr>
              <a:tr h="681742">
                <a:tc>
                  <a:txBody>
                    <a:bodyPr/>
                    <a:lstStyle/>
                    <a:p>
                      <a:pPr>
                        <a:lnSpc>
                          <a:spcPct val="100000"/>
                        </a:lnSpc>
                      </a:pPr>
                      <a:r>
                        <a:rPr lang="en-US" sz="1000" b="0" spc="0" noProof="0">
                          <a:solidFill>
                            <a:schemeClr val="tx1"/>
                          </a:solidFill>
                        </a:rPr>
                        <a:t>Use Copilot Chat to search for information, generate ideas, and summarize documents and analyze data.</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0" spc="0" noProof="0">
                          <a:solidFill>
                            <a:schemeClr val="tx1"/>
                          </a:solidFill>
                        </a:rPr>
                        <a:t>Use Microsoft 365 Copilot in the flow of work as a meeting assistant, to draft documents and emails, perform complex data analysis and provide guidance on completing tasks.</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0" spc="0" noProof="0">
                          <a:solidFill>
                            <a:schemeClr val="tx1"/>
                          </a:solidFill>
                        </a:rPr>
                        <a:t>Create agents that can serve as knowledge experts, both internally and with customers, and perform automated tasks. Interact with line of business applications through standard connectors and APIs.</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spc="0" noProof="0">
                          <a:solidFill>
                            <a:schemeClr val="tx1"/>
                          </a:solidFill>
                        </a:rPr>
                        <a:t>Create agents and apps that use AI and purpose-built LLMs to support automated process flows using custom integrations with line of business applications and databases.</a:t>
                      </a:r>
                    </a:p>
                  </a:txBody>
                  <a:tcPr marL="45720" marR="45720">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6934551"/>
                  </a:ext>
                </a:extLst>
              </a:tr>
              <a:tr h="676802">
                <a:tc>
                  <a:txBody>
                    <a:bodyPr/>
                    <a:lstStyle/>
                    <a:p>
                      <a:pPr marL="112713" marR="0" lvl="0" indent="-112713"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lang="en-US" sz="800" b="0" noProof="0" dirty="0">
                          <a:solidFill>
                            <a:srgbClr val="8661C5"/>
                          </a:solidFill>
                          <a:latin typeface="+mn-lt"/>
                          <a:hlinkClick r:id="rId2" action="ppaction://hlinksldjump"/>
                        </a:rPr>
                        <a:t>Creating promotions</a:t>
                      </a: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3" action="ppaction://hlinksldjump"/>
                        </a:rPr>
                        <a:t>Track marketing campaign performance</a:t>
                      </a: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4" action="ppaction://hlinksldjump"/>
                        </a:rPr>
                        <a:t>Implement adaptive pricing</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5" action="ppaction://hlinksldjump"/>
                        </a:rPr>
                        <a:t>Craft targeted marketing campaigns</a:t>
                      </a: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6" action="ppaction://hlinksldjump"/>
                        </a:rPr>
                        <a:t>Create personalized shopping journeys</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None/>
                        <a:tabLst/>
                        <a:defRPr/>
                      </a:pPr>
                      <a:endParaRPr lang="en-US" sz="800" b="0" kern="1200" noProof="0" dirty="0">
                        <a:solidFill>
                          <a:schemeClr val="tx1"/>
                        </a:solidFill>
                        <a:latin typeface="+mn-lt"/>
                        <a:ea typeface="+mn-ea"/>
                        <a:cs typeface="+mn-cs"/>
                      </a:endParaRPr>
                    </a:p>
                  </a:txBody>
                  <a:tcPr marT="36576" marB="36576" anchor="ctr">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11546431"/>
                  </a:ext>
                </a:extLst>
              </a:tr>
            </a:tbl>
          </a:graphicData>
        </a:graphic>
      </p:graphicFrame>
      <p:sp>
        <p:nvSpPr>
          <p:cNvPr id="5" name="Rectangle: Top Corners Rounded 4">
            <a:extLst>
              <a:ext uri="{FF2B5EF4-FFF2-40B4-BE49-F238E27FC236}">
                <a16:creationId xmlns:a16="http://schemas.microsoft.com/office/drawing/2014/main" id="{A6BD891B-EA46-D5DC-6706-D523DDED31B8}"/>
              </a:ext>
            </a:extLst>
          </p:cNvPr>
          <p:cNvSpPr/>
          <p:nvPr/>
        </p:nvSpPr>
        <p:spPr bwMode="auto">
          <a:xfrm flipH="1">
            <a:off x="588263" y="2673131"/>
            <a:ext cx="4195182"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Customer stories</a:t>
            </a:r>
          </a:p>
        </p:txBody>
      </p:sp>
      <p:sp>
        <p:nvSpPr>
          <p:cNvPr id="8" name="Rectangle: Top Corners Rounded 7">
            <a:extLst>
              <a:ext uri="{FF2B5EF4-FFF2-40B4-BE49-F238E27FC236}">
                <a16:creationId xmlns:a16="http://schemas.microsoft.com/office/drawing/2014/main" id="{6D362E52-88E8-0073-F841-F5D18751EECB}"/>
              </a:ext>
            </a:extLst>
          </p:cNvPr>
          <p:cNvSpPr/>
          <p:nvPr/>
        </p:nvSpPr>
        <p:spPr bwMode="auto">
          <a:xfrm flipH="1">
            <a:off x="588263" y="1209733"/>
            <a:ext cx="10950215"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Description</a:t>
            </a:r>
          </a:p>
        </p:txBody>
      </p:sp>
      <p:sp>
        <p:nvSpPr>
          <p:cNvPr id="9" name="Rectangle: Top Corners Rounded 8">
            <a:extLst>
              <a:ext uri="{FF2B5EF4-FFF2-40B4-BE49-F238E27FC236}">
                <a16:creationId xmlns:a16="http://schemas.microsoft.com/office/drawing/2014/main" id="{3D08DF66-A805-7D87-0D97-EDA54230916A}"/>
              </a:ext>
            </a:extLst>
          </p:cNvPr>
          <p:cNvSpPr/>
          <p:nvPr/>
        </p:nvSpPr>
        <p:spPr bwMode="auto">
          <a:xfrm flipH="1">
            <a:off x="588261" y="4814428"/>
            <a:ext cx="1856763"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KPIs impacted</a:t>
            </a:r>
          </a:p>
        </p:txBody>
      </p:sp>
      <p:sp>
        <p:nvSpPr>
          <p:cNvPr id="12" name="TextBox 11">
            <a:extLst>
              <a:ext uri="{FF2B5EF4-FFF2-40B4-BE49-F238E27FC236}">
                <a16:creationId xmlns:a16="http://schemas.microsoft.com/office/drawing/2014/main" id="{68743A74-5D01-D75C-DC90-6B2B9773B33F}"/>
              </a:ext>
            </a:extLst>
          </p:cNvPr>
          <p:cNvSpPr txBox="1"/>
          <p:nvPr/>
        </p:nvSpPr>
        <p:spPr>
          <a:xfrm>
            <a:off x="503230" y="5120712"/>
            <a:ext cx="1941795" cy="1015663"/>
          </a:xfrm>
          <a:prstGeom prst="rect">
            <a:avLst/>
          </a:prstGeom>
          <a:noFill/>
        </p:spPr>
        <p:txBody>
          <a:bodyPr wrap="square">
            <a:spAutoFit/>
          </a:bodyPr>
          <a:lstStyle/>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Revenue per store</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Customer satisfaction</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Sales conversion rate</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Marketing spend</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Retail margin</a:t>
            </a:r>
          </a:p>
        </p:txBody>
      </p:sp>
      <p:sp>
        <p:nvSpPr>
          <p:cNvPr id="23" name="TextBox 22">
            <a:extLst>
              <a:ext uri="{FF2B5EF4-FFF2-40B4-BE49-F238E27FC236}">
                <a16:creationId xmlns:a16="http://schemas.microsoft.com/office/drawing/2014/main" id="{04A17215-4B61-3D8B-0EB2-3C61407F92A7}"/>
              </a:ext>
            </a:extLst>
          </p:cNvPr>
          <p:cNvSpPr txBox="1"/>
          <p:nvPr/>
        </p:nvSpPr>
        <p:spPr>
          <a:xfrm>
            <a:off x="2837229" y="5120712"/>
            <a:ext cx="1856763" cy="438582"/>
          </a:xfrm>
          <a:prstGeom prst="rect">
            <a:avLst/>
          </a:prstGeom>
          <a:noFill/>
        </p:spPr>
        <p:txBody>
          <a:bodyPr wrap="square">
            <a:spAutoFit/>
          </a:bodyPr>
          <a:lstStyle/>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Marketing Manager</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Store Associate</a:t>
            </a:r>
          </a:p>
        </p:txBody>
      </p:sp>
      <p:sp>
        <p:nvSpPr>
          <p:cNvPr id="24" name="Rectangle: Top Corners Rounded 23">
            <a:extLst>
              <a:ext uri="{FF2B5EF4-FFF2-40B4-BE49-F238E27FC236}">
                <a16:creationId xmlns:a16="http://schemas.microsoft.com/office/drawing/2014/main" id="{798D1FD2-A4DE-3AE4-B002-85C84CA5FE0E}"/>
              </a:ext>
            </a:extLst>
          </p:cNvPr>
          <p:cNvSpPr/>
          <p:nvPr/>
        </p:nvSpPr>
        <p:spPr bwMode="auto">
          <a:xfrm flipH="1">
            <a:off x="2926682" y="4808450"/>
            <a:ext cx="1856763"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Roles impacted</a:t>
            </a:r>
          </a:p>
        </p:txBody>
      </p:sp>
      <p:pic>
        <p:nvPicPr>
          <p:cNvPr id="3" name="Picture 2">
            <a:extLst>
              <a:ext uri="{FF2B5EF4-FFF2-40B4-BE49-F238E27FC236}">
                <a16:creationId xmlns:a16="http://schemas.microsoft.com/office/drawing/2014/main" id="{C6616FC8-131B-6985-CFEB-FBE1C1D18535}"/>
              </a:ext>
            </a:extLst>
          </p:cNvPr>
          <p:cNvPicPr>
            <a:picLocks noChangeAspect="1"/>
          </p:cNvPicPr>
          <p:nvPr/>
        </p:nvPicPr>
        <p:blipFill>
          <a:blip r:embed="rId7">
            <a:clrChange>
              <a:clrFrom>
                <a:srgbClr val="FFFFFF"/>
              </a:clrFrom>
              <a:clrTo>
                <a:srgbClr val="FFFFFF">
                  <a:alpha val="0"/>
                </a:srgbClr>
              </a:clrTo>
            </a:clrChange>
          </a:blip>
          <a:srcRect l="5114" t="-1152" b="-1"/>
          <a:stretch/>
        </p:blipFill>
        <p:spPr>
          <a:xfrm>
            <a:off x="810025" y="3153225"/>
            <a:ext cx="1328204" cy="405018"/>
          </a:xfrm>
          <a:prstGeom prst="rect">
            <a:avLst/>
          </a:prstGeom>
        </p:spPr>
      </p:pic>
      <p:sp>
        <p:nvSpPr>
          <p:cNvPr id="10" name="TextBox 9">
            <a:extLst>
              <a:ext uri="{FF2B5EF4-FFF2-40B4-BE49-F238E27FC236}">
                <a16:creationId xmlns:a16="http://schemas.microsoft.com/office/drawing/2014/main" id="{0CBD18A3-34F3-8A32-F232-088676125BED}"/>
              </a:ext>
            </a:extLst>
          </p:cNvPr>
          <p:cNvSpPr txBox="1"/>
          <p:nvPr/>
        </p:nvSpPr>
        <p:spPr>
          <a:xfrm>
            <a:off x="588261" y="3731103"/>
            <a:ext cx="1856763"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hlinkClick r:id="rId8"/>
              </a:rPr>
              <a:t>Walmart unveils new generative AI-powered capabilities for shoppers</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2050" name="Picture 2" descr="CDW">
            <a:extLst>
              <a:ext uri="{FF2B5EF4-FFF2-40B4-BE49-F238E27FC236}">
                <a16:creationId xmlns:a16="http://schemas.microsoft.com/office/drawing/2014/main" id="{BB6EA6E3-6F5B-CF1E-3746-0FB499B1F3F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10771" y="3122699"/>
            <a:ext cx="932140" cy="46607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C9397480-BF9D-F27F-B342-8A361A18C9FC}"/>
              </a:ext>
            </a:extLst>
          </p:cNvPr>
          <p:cNvSpPr txBox="1"/>
          <p:nvPr/>
        </p:nvSpPr>
        <p:spPr>
          <a:xfrm>
            <a:off x="2926681" y="3736732"/>
            <a:ext cx="1856763" cy="707886"/>
          </a:xfrm>
          <a:prstGeom prst="rect">
            <a:avLst/>
          </a:prstGeom>
          <a:noFill/>
        </p:spPr>
        <p:txBody>
          <a:bodyPr wrap="square">
            <a:spAutoFit/>
          </a:bodyPr>
          <a:lstStyle>
            <a:defPPr>
              <a:defRPr lang="en-US"/>
            </a:defPPr>
            <a:lvl1pPr>
              <a:defRPr sz="10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hlinkClick r:id="rId10"/>
              </a:rPr>
              <a:t>CDW is embracing generative AI to power employee productivity and accelerate customers’ AI journeys.</a:t>
            </a:r>
            <a:endParaRPr kumimoji="0" lang="en-US" sz="10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04443647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4B7D27-585C-5139-2714-7901CD9BA5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6A869B3-CF09-3A34-41C5-3DF3DD384F5C}"/>
              </a:ext>
            </a:extLst>
          </p:cNvPr>
          <p:cNvSpPr>
            <a:spLocks noGrp="1"/>
          </p:cNvSpPr>
          <p:nvPr>
            <p:ph type="title"/>
          </p:nvPr>
        </p:nvSpPr>
        <p:spPr>
          <a:xfrm>
            <a:off x="588263" y="457200"/>
            <a:ext cx="11018520" cy="430887"/>
          </a:xfrm>
        </p:spPr>
        <p:txBody>
          <a:bodyPr/>
          <a:lstStyle/>
          <a:p>
            <a:r>
              <a:rPr lang="en-US" sz="2800" noProof="0" dirty="0"/>
              <a:t>Improve merchandising and supply chain</a:t>
            </a:r>
          </a:p>
        </p:txBody>
      </p:sp>
      <p:sp>
        <p:nvSpPr>
          <p:cNvPr id="16" name="Rounded Rectangle 53">
            <a:extLst>
              <a:ext uri="{FF2B5EF4-FFF2-40B4-BE49-F238E27FC236}">
                <a16:creationId xmlns:a16="http://schemas.microsoft.com/office/drawing/2014/main" id="{D12D0211-8C50-30D5-3521-3A9624F2DCAF}"/>
              </a:ext>
            </a:extLst>
          </p:cNvPr>
          <p:cNvSpPr>
            <a:spLocks/>
          </p:cNvSpPr>
          <p:nvPr/>
        </p:nvSpPr>
        <p:spPr bwMode="auto">
          <a:xfrm>
            <a:off x="574011" y="1516017"/>
            <a:ext cx="10950215" cy="1015663"/>
          </a:xfrm>
          <a:prstGeom prst="roundRect">
            <a:avLst>
              <a:gd name="adj" fmla="val 6100"/>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t" anchorCtr="0" forceAA="0" compatLnSpc="1">
            <a:prstTxWarp prst="textNoShape">
              <a:avLst/>
            </a:prstTxWarp>
            <a:noAutofit/>
          </a:bodyPr>
          <a:lstStyle/>
          <a:p>
            <a:r>
              <a:rPr kumimoji="0" lang="en-US" sz="1200" b="0" i="0" u="none" strike="noStrike" kern="1200" cap="none" spc="0" normalizeH="0" baseline="0" noProof="0" dirty="0">
                <a:ln>
                  <a:noFill/>
                </a:ln>
                <a:solidFill>
                  <a:srgbClr val="424242"/>
                </a:solidFill>
                <a:effectLst/>
                <a:uLnTx/>
                <a:uFillTx/>
                <a:latin typeface="Segoe Sans"/>
                <a:ea typeface="+mn-ea"/>
                <a:cs typeface="+mn-cs"/>
              </a:rPr>
              <a:t>AI can significantly enhance merchandising and supply chain operations for retailers by analyzing purchasing patterns and market trends to predict demand accurately and help optimize inventory management. AI-driven analytics provide real-time insights, enabling retailers to make data-driven decisions and improve efficiency. It helps in tracking shipments, forecasting inventory needs, and automating warehouse management, reducing overstock and stockouts. Additionally, it helps in optimizing product placement, pricing, and promotions by leveraging machine learning and data analytics. This leads to improved efficiency, customer satisfaction, and ultimately, increased sales.</a:t>
            </a:r>
            <a:endParaRPr kumimoji="0" lang="en-US" sz="1200" b="0" i="0" u="none" strike="noStrike" kern="1200" cap="none" spc="0" normalizeH="0" baseline="0" noProof="0" dirty="0">
              <a:ln>
                <a:noFill/>
              </a:ln>
              <a:solidFill>
                <a:srgbClr val="000000"/>
              </a:solidFill>
              <a:effectLst/>
              <a:uLnTx/>
              <a:uFillTx/>
              <a:latin typeface="Segoe UI"/>
              <a:ea typeface="+mn-ea"/>
              <a:cs typeface="Segoe UI Semi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Segoe UI Semilight"/>
            </a:endParaRPr>
          </a:p>
        </p:txBody>
      </p:sp>
      <p:sp>
        <p:nvSpPr>
          <p:cNvPr id="28" name="Rectangle: Top Corners Rounded 27">
            <a:extLst>
              <a:ext uri="{FF2B5EF4-FFF2-40B4-BE49-F238E27FC236}">
                <a16:creationId xmlns:a16="http://schemas.microsoft.com/office/drawing/2014/main" id="{0534F36C-2309-CCE2-E190-2B8D5F576D56}"/>
              </a:ext>
            </a:extLst>
          </p:cNvPr>
          <p:cNvSpPr/>
          <p:nvPr/>
        </p:nvSpPr>
        <p:spPr bwMode="auto">
          <a:xfrm flipH="1">
            <a:off x="5185591" y="2686640"/>
            <a:ext cx="6338638"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n-ea"/>
                <a:cs typeface="Segoe UI Semibold" panose="020B0502040204020203" pitchFamily="34" charset="0"/>
              </a:rPr>
              <a:t>Use Cases</a:t>
            </a:r>
          </a:p>
        </p:txBody>
      </p:sp>
      <p:graphicFrame>
        <p:nvGraphicFramePr>
          <p:cNvPr id="4" name="Table 3">
            <a:extLst>
              <a:ext uri="{FF2B5EF4-FFF2-40B4-BE49-F238E27FC236}">
                <a16:creationId xmlns:a16="http://schemas.microsoft.com/office/drawing/2014/main" id="{89F951E7-E25E-E01B-1AFC-DFDF5A19821D}"/>
              </a:ext>
            </a:extLst>
          </p:cNvPr>
          <p:cNvGraphicFramePr>
            <a:graphicFrameLocks noGrp="1"/>
          </p:cNvGraphicFramePr>
          <p:nvPr>
            <p:extLst>
              <p:ext uri="{D42A27DB-BD31-4B8C-83A1-F6EECF244321}">
                <p14:modId xmlns:p14="http://schemas.microsoft.com/office/powerpoint/2010/main" val="2233254151"/>
              </p:ext>
            </p:extLst>
          </p:nvPr>
        </p:nvGraphicFramePr>
        <p:xfrm>
          <a:off x="5185591" y="2994615"/>
          <a:ext cx="6338635" cy="2440432"/>
        </p:xfrm>
        <a:graphic>
          <a:graphicData uri="http://schemas.openxmlformats.org/drawingml/2006/table">
            <a:tbl>
              <a:tblPr firstRow="1" bandRow="1">
                <a:tableStyleId>{5C22544A-7EE6-4342-B048-85BDC9FD1C3A}</a:tableStyleId>
              </a:tblPr>
              <a:tblGrid>
                <a:gridCol w="1331082">
                  <a:extLst>
                    <a:ext uri="{9D8B030D-6E8A-4147-A177-3AD203B41FA5}">
                      <a16:colId xmlns:a16="http://schemas.microsoft.com/office/drawing/2014/main" val="541573232"/>
                    </a:ext>
                  </a:extLst>
                </a:gridCol>
                <a:gridCol w="1678510">
                  <a:extLst>
                    <a:ext uri="{9D8B030D-6E8A-4147-A177-3AD203B41FA5}">
                      <a16:colId xmlns:a16="http://schemas.microsoft.com/office/drawing/2014/main" val="213537445"/>
                    </a:ext>
                  </a:extLst>
                </a:gridCol>
                <a:gridCol w="1688435">
                  <a:extLst>
                    <a:ext uri="{9D8B030D-6E8A-4147-A177-3AD203B41FA5}">
                      <a16:colId xmlns:a16="http://schemas.microsoft.com/office/drawing/2014/main" val="4253899296"/>
                    </a:ext>
                  </a:extLst>
                </a:gridCol>
                <a:gridCol w="1640608">
                  <a:extLst>
                    <a:ext uri="{9D8B030D-6E8A-4147-A177-3AD203B41FA5}">
                      <a16:colId xmlns:a16="http://schemas.microsoft.com/office/drawing/2014/main" val="3573951510"/>
                    </a:ext>
                  </a:extLst>
                </a:gridCol>
              </a:tblGrid>
              <a:tr h="148205">
                <a:tc>
                  <a:txBody>
                    <a:bodyPr/>
                    <a:lstStyle/>
                    <a:p>
                      <a:pPr>
                        <a:lnSpc>
                          <a:spcPct val="100000"/>
                        </a:lnSpc>
                      </a:pPr>
                      <a:r>
                        <a:rPr lang="en-US" sz="1000" b="0" spc="0" noProof="0" dirty="0">
                          <a:solidFill>
                            <a:schemeClr val="accent3"/>
                          </a:solidFill>
                          <a:latin typeface="+mj-lt"/>
                        </a:rPr>
                        <a:t>Start</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spc="0" noProof="0">
                          <a:solidFill>
                            <a:schemeClr val="accent3"/>
                          </a:solidFill>
                          <a:latin typeface="+mj-lt"/>
                        </a:rPr>
                        <a:t>Buy</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spc="0" noProof="0">
                          <a:solidFill>
                            <a:schemeClr val="accent3"/>
                          </a:solidFill>
                          <a:latin typeface="+mj-lt"/>
                        </a:rPr>
                        <a:t>Extend</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spc="0" noProof="0">
                          <a:solidFill>
                            <a:schemeClr val="accent3"/>
                          </a:solidFill>
                          <a:latin typeface="+mj-lt"/>
                        </a:rPr>
                        <a:t>Build</a:t>
                      </a:r>
                    </a:p>
                  </a:txBody>
                  <a:tcPr marL="45720" marR="45720">
                    <a:lnL w="6350" cap="flat" cmpd="sng" algn="ctr">
                      <a:solidFill>
                        <a:schemeClr val="bg1">
                          <a:lumMod val="85000"/>
                        </a:schemeClr>
                      </a:solidFill>
                      <a:prstDash val="solid"/>
                      <a:round/>
                      <a:headEnd type="none" w="med" len="med"/>
                      <a:tailEnd type="none" w="med" len="med"/>
                    </a:lnL>
                    <a:lnR w="12700" cmpd="sng">
                      <a:noFill/>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0387161"/>
                  </a:ext>
                </a:extLst>
              </a:tr>
              <a:tr h="681742">
                <a:tc>
                  <a:txBody>
                    <a:bodyPr/>
                    <a:lstStyle/>
                    <a:p>
                      <a:pPr>
                        <a:lnSpc>
                          <a:spcPct val="100000"/>
                        </a:lnSpc>
                      </a:pPr>
                      <a:r>
                        <a:rPr lang="en-US" sz="1000" b="0" spc="0" noProof="0">
                          <a:solidFill>
                            <a:schemeClr val="tx1"/>
                          </a:solidFill>
                        </a:rPr>
                        <a:t>Use Copilot Chat to search for information, generate ideas, and summarize documents and analyze data.</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0" spc="0" noProof="0">
                          <a:solidFill>
                            <a:schemeClr val="tx1"/>
                          </a:solidFill>
                        </a:rPr>
                        <a:t>Use Microsoft 365 Copilot in the flow of work as a meeting assistant, to draft documents and emails, perform complex data analysis and provide guidance on completing tasks.</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0" spc="0" noProof="0">
                          <a:solidFill>
                            <a:schemeClr val="tx1"/>
                          </a:solidFill>
                        </a:rPr>
                        <a:t>Create agents that can serve as knowledge experts, both internally and with customers, and perform automated tasks. Interact with line of business applications through standard connectors and APIs.</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spc="0" noProof="0">
                          <a:solidFill>
                            <a:schemeClr val="tx1"/>
                          </a:solidFill>
                        </a:rPr>
                        <a:t>Create agents and apps that use AI and purpose-built LLMs to support automated process flows using custom integrations with line of business applications and databases.</a:t>
                      </a:r>
                    </a:p>
                  </a:txBody>
                  <a:tcPr marL="45720" marR="45720">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6934551"/>
                  </a:ext>
                </a:extLst>
              </a:tr>
              <a:tr h="676802">
                <a:tc>
                  <a:txBody>
                    <a:bodyPr/>
                    <a:lstStyle/>
                    <a:p>
                      <a:pPr marL="171450" marR="0" lvl="0" indent="-17145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lang="en-US" sz="800" b="0" noProof="0" dirty="0">
                          <a:solidFill>
                            <a:srgbClr val="8661C5"/>
                          </a:solidFill>
                          <a:latin typeface="+mn-lt"/>
                          <a:hlinkClick r:id="rId2" action="ppaction://hlinksldjump"/>
                        </a:rPr>
                        <a:t>Identify new product options</a:t>
                      </a: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4300" indent="-114300">
                        <a:spcAft>
                          <a:spcPts val="200"/>
                        </a:spcAft>
                        <a:buClr>
                          <a:schemeClr val="tx1"/>
                        </a:buClr>
                        <a:buFont typeface="Arial" panose="020B0604020202020204" pitchFamily="34" charset="0"/>
                        <a:buChar cha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3" action="ppaction://hlinksldjump"/>
                        </a:rPr>
                        <a:t>Streamline market research and strategy</a:t>
                      </a: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4" action="ppaction://hlinksldjump"/>
                        </a:rPr>
                        <a:t>Optimize supply chain management</a:t>
                      </a:r>
                      <a:endParaRPr lang="en-US" sz="800" b="0" noProof="0" dirty="0">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5" action="ppaction://hlinksldjump"/>
                        </a:rPr>
                        <a:t>Improve merchandising decisions</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6" action="ppaction://hlinksldjump"/>
                        </a:rPr>
                        <a:t>Reduce sourcing compliance risk</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hlinkClick r:id="rId7" action="ppaction://hlinksldjump"/>
                        </a:rPr>
                        <a:t>Fashion design agent</a:t>
                      </a:r>
                      <a:endParaRPr lang="en-US" sz="800" b="0" kern="1200" noProof="0" dirty="0">
                        <a:solidFill>
                          <a:schemeClr val="tx1"/>
                        </a:solidFill>
                        <a:latin typeface="+mn-lt"/>
                        <a:ea typeface="+mn-ea"/>
                        <a:cs typeface="+mn-cs"/>
                      </a:endParaRPr>
                    </a:p>
                  </a:txBody>
                  <a:tcPr marT="36576" marB="36576" anchor="ctr">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11546431"/>
                  </a:ext>
                </a:extLst>
              </a:tr>
            </a:tbl>
          </a:graphicData>
        </a:graphic>
      </p:graphicFrame>
      <p:sp>
        <p:nvSpPr>
          <p:cNvPr id="5" name="Rectangle: Top Corners Rounded 4">
            <a:extLst>
              <a:ext uri="{FF2B5EF4-FFF2-40B4-BE49-F238E27FC236}">
                <a16:creationId xmlns:a16="http://schemas.microsoft.com/office/drawing/2014/main" id="{E51CD760-9FD4-D516-2E4A-06CD03476D72}"/>
              </a:ext>
            </a:extLst>
          </p:cNvPr>
          <p:cNvSpPr/>
          <p:nvPr/>
        </p:nvSpPr>
        <p:spPr bwMode="auto">
          <a:xfrm flipH="1">
            <a:off x="588263" y="2673131"/>
            <a:ext cx="4195182"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Customer stories</a:t>
            </a:r>
          </a:p>
        </p:txBody>
      </p:sp>
      <p:sp>
        <p:nvSpPr>
          <p:cNvPr id="8" name="Rectangle: Top Corners Rounded 7">
            <a:extLst>
              <a:ext uri="{FF2B5EF4-FFF2-40B4-BE49-F238E27FC236}">
                <a16:creationId xmlns:a16="http://schemas.microsoft.com/office/drawing/2014/main" id="{446826E9-69E6-2A7C-198A-A526E705769D}"/>
              </a:ext>
            </a:extLst>
          </p:cNvPr>
          <p:cNvSpPr/>
          <p:nvPr/>
        </p:nvSpPr>
        <p:spPr bwMode="auto">
          <a:xfrm flipH="1">
            <a:off x="588263" y="1209733"/>
            <a:ext cx="10950215"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Description</a:t>
            </a:r>
          </a:p>
        </p:txBody>
      </p:sp>
      <p:sp>
        <p:nvSpPr>
          <p:cNvPr id="9" name="Rectangle: Top Corners Rounded 8">
            <a:extLst>
              <a:ext uri="{FF2B5EF4-FFF2-40B4-BE49-F238E27FC236}">
                <a16:creationId xmlns:a16="http://schemas.microsoft.com/office/drawing/2014/main" id="{D3734248-7FA4-CEFA-95D3-267EC313E4E0}"/>
              </a:ext>
            </a:extLst>
          </p:cNvPr>
          <p:cNvSpPr/>
          <p:nvPr/>
        </p:nvSpPr>
        <p:spPr bwMode="auto">
          <a:xfrm flipH="1">
            <a:off x="588261" y="4814428"/>
            <a:ext cx="1856763"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KPIs impacted</a:t>
            </a:r>
          </a:p>
        </p:txBody>
      </p:sp>
      <p:sp>
        <p:nvSpPr>
          <p:cNvPr id="12" name="TextBox 11">
            <a:extLst>
              <a:ext uri="{FF2B5EF4-FFF2-40B4-BE49-F238E27FC236}">
                <a16:creationId xmlns:a16="http://schemas.microsoft.com/office/drawing/2014/main" id="{5180201E-39AE-BFBC-20F8-E3AF6955293E}"/>
              </a:ext>
            </a:extLst>
          </p:cNvPr>
          <p:cNvSpPr txBox="1"/>
          <p:nvPr/>
        </p:nvSpPr>
        <p:spPr>
          <a:xfrm>
            <a:off x="503230" y="5120712"/>
            <a:ext cx="1941795" cy="1015663"/>
          </a:xfrm>
          <a:prstGeom prst="rect">
            <a:avLst/>
          </a:prstGeom>
          <a:noFill/>
        </p:spPr>
        <p:txBody>
          <a:bodyPr wrap="square">
            <a:spAutoFit/>
          </a:bodyPr>
          <a:lstStyle/>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Revenue per store</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Customer satisfaction</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Sales conversion rate</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dirty="0">
                <a:solidFill>
                  <a:srgbClr val="000000"/>
                </a:solidFill>
                <a:latin typeface="Segoe UI"/>
                <a:cs typeface="Segoe UI"/>
              </a:rPr>
              <a:t>Marketing spend</a:t>
            </a:r>
            <a:endParaRPr kumimoji="0" lang="en-US" sz="1000" b="0" i="0" u="none" strike="noStrike" kern="1200" cap="none" spc="0" normalizeH="0" baseline="0" noProof="0" dirty="0">
              <a:ln>
                <a:noFill/>
              </a:ln>
              <a:solidFill>
                <a:srgbClr val="000000"/>
              </a:solidFill>
              <a:effectLst/>
              <a:uLnTx/>
              <a:uFillTx/>
              <a:latin typeface="Segoe UI"/>
              <a:ea typeface="+mn-ea"/>
              <a:cs typeface="Segoe UI"/>
            </a:endParaRP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Retail margin</a:t>
            </a:r>
          </a:p>
        </p:txBody>
      </p:sp>
      <p:sp>
        <p:nvSpPr>
          <p:cNvPr id="23" name="TextBox 22">
            <a:extLst>
              <a:ext uri="{FF2B5EF4-FFF2-40B4-BE49-F238E27FC236}">
                <a16:creationId xmlns:a16="http://schemas.microsoft.com/office/drawing/2014/main" id="{0BB034F3-C2E6-6A1F-02A7-BB5797CA2859}"/>
              </a:ext>
            </a:extLst>
          </p:cNvPr>
          <p:cNvSpPr txBox="1"/>
          <p:nvPr/>
        </p:nvSpPr>
        <p:spPr>
          <a:xfrm>
            <a:off x="2837229" y="5120712"/>
            <a:ext cx="1856763" cy="1015663"/>
          </a:xfrm>
          <a:prstGeom prst="rect">
            <a:avLst/>
          </a:prstGeom>
          <a:noFill/>
        </p:spPr>
        <p:txBody>
          <a:bodyPr wrap="square">
            <a:spAutoFit/>
          </a:bodyPr>
          <a:lstStyle/>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Supply Chain Manager</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Logistics Manager</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Merchandising Manager</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Store Manager</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Finance Analyst</a:t>
            </a:r>
          </a:p>
        </p:txBody>
      </p:sp>
      <p:sp>
        <p:nvSpPr>
          <p:cNvPr id="24" name="Rectangle: Top Corners Rounded 23">
            <a:extLst>
              <a:ext uri="{FF2B5EF4-FFF2-40B4-BE49-F238E27FC236}">
                <a16:creationId xmlns:a16="http://schemas.microsoft.com/office/drawing/2014/main" id="{69160CD9-1EBD-7A92-8A6C-30926C0D0165}"/>
              </a:ext>
            </a:extLst>
          </p:cNvPr>
          <p:cNvSpPr/>
          <p:nvPr/>
        </p:nvSpPr>
        <p:spPr bwMode="auto">
          <a:xfrm flipH="1">
            <a:off x="2926682" y="4808450"/>
            <a:ext cx="1856763"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Roles impacted</a:t>
            </a:r>
          </a:p>
        </p:txBody>
      </p:sp>
      <p:sp>
        <p:nvSpPr>
          <p:cNvPr id="3" name="TextBox 2">
            <a:extLst>
              <a:ext uri="{FF2B5EF4-FFF2-40B4-BE49-F238E27FC236}">
                <a16:creationId xmlns:a16="http://schemas.microsoft.com/office/drawing/2014/main" id="{77C10A4F-7E95-413F-B43B-3281941A006B}"/>
              </a:ext>
            </a:extLst>
          </p:cNvPr>
          <p:cNvSpPr txBox="1"/>
          <p:nvPr/>
        </p:nvSpPr>
        <p:spPr>
          <a:xfrm>
            <a:off x="588261" y="3842657"/>
            <a:ext cx="1856763" cy="3693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200" u="sng" dirty="0" err="1">
                <a:solidFill>
                  <a:srgbClr val="8661C5"/>
                </a:solidFill>
                <a:cs typeface="Segoe UI"/>
                <a:hlinkClick r:id="rId8"/>
              </a:rPr>
              <a:t>Fashable</a:t>
            </a:r>
            <a:r>
              <a:rPr lang="en-US" sz="1200" u="sng" dirty="0">
                <a:solidFill>
                  <a:srgbClr val="8661C5"/>
                </a:solidFill>
                <a:cs typeface="Segoe UI"/>
                <a:hlinkClick r:id="rId8"/>
              </a:rPr>
              <a:t> reimagines the future of fashion design</a:t>
            </a:r>
            <a:r>
              <a:rPr lang="en-US" sz="1200" dirty="0">
                <a:cs typeface="Segoe UI"/>
              </a:rPr>
              <a:t>​</a:t>
            </a:r>
            <a:endParaRPr lang="en-US" dirty="0"/>
          </a:p>
        </p:txBody>
      </p:sp>
      <p:pic>
        <p:nvPicPr>
          <p:cNvPr id="6" name="Picture 5" descr="A logo of a company&#10;&#10;AI-generated content may be incorrect.">
            <a:extLst>
              <a:ext uri="{FF2B5EF4-FFF2-40B4-BE49-F238E27FC236}">
                <a16:creationId xmlns:a16="http://schemas.microsoft.com/office/drawing/2014/main" id="{9B14F13D-CACF-3481-70EA-7D679D06C65B}"/>
              </a:ext>
            </a:extLst>
          </p:cNvPr>
          <p:cNvPicPr>
            <a:picLocks noChangeAspect="1"/>
          </p:cNvPicPr>
          <p:nvPr/>
        </p:nvPicPr>
        <p:blipFill>
          <a:blip r:embed="rId9"/>
          <a:stretch>
            <a:fillRect/>
          </a:stretch>
        </p:blipFill>
        <p:spPr>
          <a:xfrm>
            <a:off x="641577" y="3240542"/>
            <a:ext cx="1666875" cy="605519"/>
          </a:xfrm>
          <a:prstGeom prst="rect">
            <a:avLst/>
          </a:prstGeom>
        </p:spPr>
      </p:pic>
    </p:spTree>
    <p:extLst>
      <p:ext uri="{BB962C8B-B14F-4D97-AF65-F5344CB8AC3E}">
        <p14:creationId xmlns:p14="http://schemas.microsoft.com/office/powerpoint/2010/main" val="381589535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ght 16x9">
  <a:themeElements>
    <a:clrScheme name="Custom 7">
      <a:dk1>
        <a:srgbClr val="000000"/>
      </a:dk1>
      <a:lt1>
        <a:srgbClr val="FFFFFF"/>
      </a:lt1>
      <a:dk2>
        <a:srgbClr val="463668"/>
      </a:dk2>
      <a:lt2>
        <a:srgbClr val="E8E6DF"/>
      </a:lt2>
      <a:accent1>
        <a:srgbClr val="463668"/>
      </a:accent1>
      <a:accent2>
        <a:srgbClr val="C5B4E3"/>
      </a:accent2>
      <a:accent3>
        <a:srgbClr val="C03BC4"/>
      </a:accent3>
      <a:accent4>
        <a:srgbClr val="8C8279"/>
      </a:accent4>
      <a:accent5>
        <a:srgbClr val="D59ED7"/>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brand template starter - 16x9 v04.potx" id="{4908BB59-E0F9-4262-9337-B2D75939F852}" vid="{C1F6406B-B671-42E9-A581-A06DD50715F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696B5C021C36A4B948619657DF31541" ma:contentTypeVersion="13" ma:contentTypeDescription="Create a new document." ma:contentTypeScope="" ma:versionID="3179e1be26f23a129528d230448053e8">
  <xsd:schema xmlns:xsd="http://www.w3.org/2001/XMLSchema" xmlns:xs="http://www.w3.org/2001/XMLSchema" xmlns:p="http://schemas.microsoft.com/office/2006/metadata/properties" xmlns:ns1="http://schemas.microsoft.com/sharepoint/v3" xmlns:ns2="c12c9beb-9115-4dd4-b4b0-98592a7680e2" xmlns:ns3="9b9b331a-5640-4f50-a010-6cc4266aa39c" targetNamespace="http://schemas.microsoft.com/office/2006/metadata/properties" ma:root="true" ma:fieldsID="d3f859843280ba2968dbadbb5350bb26" ns1:_="" ns2:_="" ns3:_="">
    <xsd:import namespace="http://schemas.microsoft.com/sharepoint/v3"/>
    <xsd:import namespace="c12c9beb-9115-4dd4-b4b0-98592a7680e2"/>
    <xsd:import namespace="9b9b331a-5640-4f50-a010-6cc4266aa39c"/>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12c9beb-9115-4dd4-b4b0-98592a7680e2"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BillingMetadata" ma:index="2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b9b331a-5640-4f50-a010-6cc4266aa39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906DCFC-57BE-471C-9AA9-8C94A7A505DA}">
  <ds:schemaRefs>
    <ds:schemaRef ds:uri="http://schemas.microsoft.com/sharepoint/v3/contenttype/forms"/>
  </ds:schemaRefs>
</ds:datastoreItem>
</file>

<file path=customXml/itemProps2.xml><?xml version="1.0" encoding="utf-8"?>
<ds:datastoreItem xmlns:ds="http://schemas.openxmlformats.org/officeDocument/2006/customXml" ds:itemID="{D549B3AD-9962-4CE5-8E0A-2C8D95E7DE3D}">
  <ds:schemaRefs>
    <ds:schemaRef ds:uri="http://schemas.openxmlformats.org/package/2006/metadata/core-properties"/>
    <ds:schemaRef ds:uri="http://purl.org/dc/terms/"/>
    <ds:schemaRef ds:uri="http://purl.org/dc/dcmitype/"/>
    <ds:schemaRef ds:uri="http://schemas.microsoft.com/sharepoint/v3"/>
    <ds:schemaRef ds:uri="http://schemas.microsoft.com/office/2006/metadata/properties"/>
    <ds:schemaRef ds:uri="http://schemas.microsoft.com/office/2006/documentManagement/types"/>
    <ds:schemaRef ds:uri="http://purl.org/dc/elements/1.1/"/>
    <ds:schemaRef ds:uri="9b9b331a-5640-4f50-a010-6cc4266aa39c"/>
    <ds:schemaRef ds:uri="http://schemas.microsoft.com/office/infopath/2007/PartnerControls"/>
    <ds:schemaRef ds:uri="c12c9beb-9115-4dd4-b4b0-98592a7680e2"/>
    <ds:schemaRef ds:uri="http://www.w3.org/XML/1998/namespace"/>
  </ds:schemaRefs>
</ds:datastoreItem>
</file>

<file path=customXml/itemProps3.xml><?xml version="1.0" encoding="utf-8"?>
<ds:datastoreItem xmlns:ds="http://schemas.openxmlformats.org/officeDocument/2006/customXml" ds:itemID="{E4F575D1-D3E6-4B2E-81B9-7181EE16BCA3}">
  <ds:schemaRefs>
    <ds:schemaRef ds:uri="9b9b331a-5640-4f50-a010-6cc4266aa39c"/>
    <ds:schemaRef ds:uri="c12c9beb-9115-4dd4-b4b0-98592a7680e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21688</TotalTime>
  <Words>8877</Words>
  <Application>Microsoft Office PowerPoint</Application>
  <PresentationFormat>Widescreen</PresentationFormat>
  <Paragraphs>1000</Paragraphs>
  <Slides>34</Slides>
  <Notes>14</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6" baseType="lpstr">
      <vt:lpstr>Aptos</vt:lpstr>
      <vt:lpstr>Arial</vt:lpstr>
      <vt:lpstr>Segoe Sans</vt:lpstr>
      <vt:lpstr>Segoe Sans Display Semibold</vt:lpstr>
      <vt:lpstr>Segoe UI</vt:lpstr>
      <vt:lpstr>Segoe UI </vt:lpstr>
      <vt:lpstr>Segoe UI Semibold</vt:lpstr>
      <vt:lpstr>Segoe UI Semilight</vt:lpstr>
      <vt:lpstr>Segoe UI Variable Text</vt:lpstr>
      <vt:lpstr>Wingdings</vt:lpstr>
      <vt:lpstr>Light 16x9</vt:lpstr>
      <vt:lpstr>think-cell Slide</vt:lpstr>
      <vt:lpstr>Microsoft Scenario Library</vt:lpstr>
      <vt:lpstr>Top 10 to "Try First"</vt:lpstr>
      <vt:lpstr>AI value journey</vt:lpstr>
      <vt:lpstr>”Effort” level for each scenario  </vt:lpstr>
      <vt:lpstr>AI use cases for Retail</vt:lpstr>
      <vt:lpstr>AI Retail use cases</vt:lpstr>
      <vt:lpstr>AI use cases for Retail</vt:lpstr>
      <vt:lpstr>Deliver personalized shopping experiences</vt:lpstr>
      <vt:lpstr>Improve merchandising and supply chain</vt:lpstr>
      <vt:lpstr>Drive efficiency through AI-assisted store associates</vt:lpstr>
      <vt:lpstr>KPI – Revenue per store</vt:lpstr>
      <vt:lpstr>KPI – Customer satisfaction</vt:lpstr>
      <vt:lpstr>KPI – Sales conversion rate</vt:lpstr>
      <vt:lpstr>KPI – Employee turnover</vt:lpstr>
      <vt:lpstr>KPI – Marketing spend</vt:lpstr>
      <vt:lpstr>KPI – Retail margin</vt:lpstr>
      <vt:lpstr>Identify new product and supplier options</vt:lpstr>
      <vt:lpstr>Creating promotional materials</vt:lpstr>
      <vt:lpstr>Maximize store performance</vt:lpstr>
      <vt:lpstr>Improve merchandising decisions</vt:lpstr>
      <vt:lpstr>Optimize supply chain management</vt:lpstr>
      <vt:lpstr>Fashion design agent</vt:lpstr>
      <vt:lpstr>Implement adaptive pricing</vt:lpstr>
      <vt:lpstr>Streamline market research and strategy</vt:lpstr>
      <vt:lpstr>Track marketing campaign performance</vt:lpstr>
      <vt:lpstr>Craft targeted marketing campaigns</vt:lpstr>
      <vt:lpstr>Reduce sourcing compliance risk</vt:lpstr>
      <vt:lpstr>Improve store associate management</vt:lpstr>
      <vt:lpstr>Improve retail store operations</vt:lpstr>
      <vt:lpstr>Assist store associates</vt:lpstr>
      <vt:lpstr>Assist store managers</vt:lpstr>
      <vt:lpstr>Improve customer service and info discovery</vt:lpstr>
      <vt:lpstr>Create personalized shopping journeys</vt:lpstr>
      <vt:lpstr>A day in the life of a Store Associat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aryl Schaal (SYNAXIS CORPORATION)</dc:creator>
  <cp:lastModifiedBy>Daryl Schaal</cp:lastModifiedBy>
  <cp:revision>5</cp:revision>
  <dcterms:created xsi:type="dcterms:W3CDTF">2024-09-25T15:39:48Z</dcterms:created>
  <dcterms:modified xsi:type="dcterms:W3CDTF">2025-04-13T20:04: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96B5C021C36A4B948619657DF31541</vt:lpwstr>
  </property>
</Properties>
</file>